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5.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6.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7.xml" ContentType="application/vnd.openxmlformats-officedocument.presentationml.notesSlide+xml"/>
  <Override PartName="/ppt/tags/tag36.xml" ContentType="application/vnd.openxmlformats-officedocument.presentationml.tags+xml"/>
  <Override PartName="/ppt/notesSlides/notesSlide8.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9.xml" ContentType="application/vnd.openxmlformats-officedocument.presentationml.notesSlide+xml"/>
  <Override PartName="/ppt/tags/tag39.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2" r:id="rId4"/>
  </p:sldMasterIdLst>
  <p:notesMasterIdLst>
    <p:notesMasterId r:id="rId46"/>
  </p:notesMasterIdLst>
  <p:handoutMasterIdLst>
    <p:handoutMasterId r:id="rId47"/>
  </p:handoutMasterIdLst>
  <p:sldIdLst>
    <p:sldId id="288" r:id="rId5"/>
    <p:sldId id="307" r:id="rId6"/>
    <p:sldId id="605" r:id="rId7"/>
    <p:sldId id="606" r:id="rId8"/>
    <p:sldId id="558" r:id="rId9"/>
    <p:sldId id="620" r:id="rId10"/>
    <p:sldId id="616" r:id="rId11"/>
    <p:sldId id="617" r:id="rId12"/>
    <p:sldId id="609" r:id="rId13"/>
    <p:sldId id="554" r:id="rId14"/>
    <p:sldId id="579" r:id="rId15"/>
    <p:sldId id="577" r:id="rId16"/>
    <p:sldId id="553" r:id="rId17"/>
    <p:sldId id="587" r:id="rId18"/>
    <p:sldId id="555" r:id="rId19"/>
    <p:sldId id="586" r:id="rId20"/>
    <p:sldId id="526" r:id="rId21"/>
    <p:sldId id="564" r:id="rId22"/>
    <p:sldId id="603" r:id="rId23"/>
    <p:sldId id="611" r:id="rId24"/>
    <p:sldId id="612" r:id="rId25"/>
    <p:sldId id="613" r:id="rId26"/>
    <p:sldId id="550" r:id="rId27"/>
    <p:sldId id="614" r:id="rId28"/>
    <p:sldId id="615" r:id="rId29"/>
    <p:sldId id="626" r:id="rId30"/>
    <p:sldId id="618" r:id="rId31"/>
    <p:sldId id="625" r:id="rId32"/>
    <p:sldId id="627" r:id="rId33"/>
    <p:sldId id="628" r:id="rId34"/>
    <p:sldId id="619" r:id="rId35"/>
    <p:sldId id="630" r:id="rId36"/>
    <p:sldId id="624" r:id="rId37"/>
    <p:sldId id="610" r:id="rId38"/>
    <p:sldId id="621" r:id="rId39"/>
    <p:sldId id="362" r:id="rId40"/>
    <p:sldId id="567" r:id="rId41"/>
    <p:sldId id="629" r:id="rId42"/>
    <p:sldId id="622" r:id="rId43"/>
    <p:sldId id="568" r:id="rId44"/>
    <p:sldId id="289" r:id="rId45"/>
  </p:sldIdLst>
  <p:sldSz cx="12198350" cy="6858000"/>
  <p:notesSz cx="6858000" cy="9144000"/>
  <p:custDataLst>
    <p:tags r:id="rId48"/>
  </p:custDataLst>
  <p:defaultTex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054275"/>
    <a:srgbClr val="E1F1FF"/>
    <a:srgbClr val="0E71C2"/>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A20E951-F767-40FB-8981-BDCADE0C3650}">
  <a:tblStyle styleId="{CA20E951-F767-40FB-8981-BDCADE0C3650}" styleName="OST Tabelle">
    <a:wholeTbl>
      <a:tcTxStyle>
        <a:fontRef idx="minor">
          <a:prstClr val="black"/>
        </a:fontRef>
        <a:schemeClr val="dk1"/>
      </a:tcTxStyle>
      <a:tcStyle>
        <a:tcBdr>
          <a:left>
            <a:ln w="28575" cmpd="sng">
              <a:solidFill>
                <a:srgbClr val="56276D"/>
              </a:solidFill>
            </a:ln>
          </a:left>
          <a:right>
            <a:ln w="28575" cmpd="sng">
              <a:solidFill>
                <a:srgbClr val="56276D"/>
              </a:solidFill>
            </a:ln>
          </a:right>
          <a:top>
            <a:ln w="28575" cmpd="sng">
              <a:solidFill>
                <a:srgbClr val="56276D"/>
              </a:solidFill>
            </a:ln>
          </a:top>
          <a:bottom>
            <a:ln w="28575" cmpd="sng">
              <a:solidFill>
                <a:srgbClr val="56276D"/>
              </a:solidFill>
            </a:ln>
          </a:bottom>
          <a:insideH>
            <a:ln w="28575" cmpd="sng">
              <a:solidFill>
                <a:srgbClr val="56276D"/>
              </a:solidFill>
            </a:ln>
          </a:insideH>
          <a:insideV>
            <a:ln w="28575" cmpd="sng">
              <a:solidFill>
                <a:srgbClr val="56276D"/>
              </a:solidFill>
            </a:ln>
          </a:insideV>
        </a:tcBdr>
        <a:fill>
          <a:noFill/>
        </a:fill>
      </a:tcStyle>
    </a:wholeTbl>
    <a:firstCol>
      <a:tcTxStyle b="on">
        <a:fontRef idx="minor"/>
        <a:srgbClr val="000000"/>
      </a:tcTxStyle>
      <a:tcStyle>
        <a:tcBdr/>
        <a:fill>
          <a:noFill/>
        </a:fill>
      </a:tcStyle>
    </a:firstCol>
    <a:firstRow>
      <a:tcTxStyle b="on">
        <a:fontRef idx="minor"/>
        <a:srgbClr val="000000"/>
      </a:tcTxStyle>
      <a:tcStyle>
        <a:tcBdr/>
        <a:fill>
          <a:noFill/>
        </a:fill>
      </a:tcStyle>
    </a:firstRow>
  </a:tblStyle>
  <a:tblStyle styleId="{5A111915-BE36-4E01-A7E5-04B1672EAD32}" styleName="Helle Formatvorlage 2 - Akz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8" autoAdjust="0"/>
    <p:restoredTop sz="91709" autoAdjust="0"/>
  </p:normalViewPr>
  <p:slideViewPr>
    <p:cSldViewPr snapToGrid="0" snapToObjects="1">
      <p:cViewPr varScale="1">
        <p:scale>
          <a:sx n="104" d="100"/>
          <a:sy n="104" d="100"/>
        </p:scale>
        <p:origin x="870" y="114"/>
      </p:cViewPr>
      <p:guideLst/>
    </p:cSldViewPr>
  </p:slideViewPr>
  <p:outlineViewPr>
    <p:cViewPr>
      <p:scale>
        <a:sx n="33" d="100"/>
        <a:sy n="33" d="100"/>
      </p:scale>
      <p:origin x="0" y="0"/>
    </p:cViewPr>
    <p:sldLst>
      <p:sld r:id="rId1" collapse="1"/>
      <p:sld r:id="rId2" collapse="1"/>
    </p:sldLst>
  </p:outlineViewPr>
  <p:notesTextViewPr>
    <p:cViewPr>
      <p:scale>
        <a:sx n="150" d="100"/>
        <a:sy n="150" d="100"/>
      </p:scale>
      <p:origin x="0" y="0"/>
    </p:cViewPr>
  </p:notesTextViewPr>
  <p:sorterViewPr>
    <p:cViewPr varScale="1">
      <p:scale>
        <a:sx n="1" d="1"/>
        <a:sy n="1" d="1"/>
      </p:scale>
      <p:origin x="0" y="0"/>
    </p:cViewPr>
  </p:sorterViewPr>
  <p:notesViewPr>
    <p:cSldViewPr snapToGrid="0" snapToObjects="1" showGuides="1">
      <p:cViewPr varScale="1">
        <p:scale>
          <a:sx n="101" d="100"/>
          <a:sy n="101" d="100"/>
        </p:scale>
        <p:origin x="3533" y="6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microsoft.com/office/2016/11/relationships/changesInfo" Target="changesInfos/changesInfo1.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s>
</file>

<file path=ppt/_rels/viewProps.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ter Eichenberger" userId="728f4d23-4a61-4401-9315-f0ce5ffabd34" providerId="ADAL" clId="{A295695A-2F8E-4282-8B02-6156BD1E7B75}"/>
    <pc:docChg chg="undo custSel addSld delSld modSld sldOrd replTag">
      <pc:chgData name="Peter Eichenberger" userId="728f4d23-4a61-4401-9315-f0ce5ffabd34" providerId="ADAL" clId="{A295695A-2F8E-4282-8B02-6156BD1E7B75}" dt="2023-09-18T10:53:04.956" v="3365" actId="1076"/>
      <pc:docMkLst>
        <pc:docMk/>
      </pc:docMkLst>
      <pc:sldChg chg="modSp mod">
        <pc:chgData name="Peter Eichenberger" userId="728f4d23-4a61-4401-9315-f0ce5ffabd34" providerId="ADAL" clId="{A295695A-2F8E-4282-8B02-6156BD1E7B75}" dt="2023-09-17T17:48:20.846" v="3258" actId="20577"/>
        <pc:sldMkLst>
          <pc:docMk/>
          <pc:sldMk cId="3749842885" sldId="307"/>
        </pc:sldMkLst>
        <pc:spChg chg="mod">
          <ac:chgData name="Peter Eichenberger" userId="728f4d23-4a61-4401-9315-f0ce5ffabd34" providerId="ADAL" clId="{A295695A-2F8E-4282-8B02-6156BD1E7B75}" dt="2023-09-17T17:48:20.846" v="3258" actId="20577"/>
          <ac:spMkLst>
            <pc:docMk/>
            <pc:sldMk cId="3749842885" sldId="307"/>
            <ac:spMk id="6" creationId="{00000000-0000-0000-0000-000000000000}"/>
          </ac:spMkLst>
        </pc:spChg>
      </pc:sldChg>
      <pc:sldChg chg="modSp del mod">
        <pc:chgData name="Peter Eichenberger" userId="728f4d23-4a61-4401-9315-f0ce5ffabd34" providerId="ADAL" clId="{A295695A-2F8E-4282-8B02-6156BD1E7B75}" dt="2023-09-17T17:45:37.343" v="3128" actId="2696"/>
        <pc:sldMkLst>
          <pc:docMk/>
          <pc:sldMk cId="665999254" sldId="484"/>
        </pc:sldMkLst>
        <pc:picChg chg="mod">
          <ac:chgData name="Peter Eichenberger" userId="728f4d23-4a61-4401-9315-f0ce5ffabd34" providerId="ADAL" clId="{A295695A-2F8E-4282-8B02-6156BD1E7B75}" dt="2023-09-17T15:17:09.469" v="2310" actId="14100"/>
          <ac:picMkLst>
            <pc:docMk/>
            <pc:sldMk cId="665999254" sldId="484"/>
            <ac:picMk id="9" creationId="{CFD332E1-681F-4EF2-B425-0CB45FADE53E}"/>
          </ac:picMkLst>
        </pc:picChg>
      </pc:sldChg>
      <pc:sldChg chg="add">
        <pc:chgData name="Peter Eichenberger" userId="728f4d23-4a61-4401-9315-f0ce5ffabd34" providerId="ADAL" clId="{A295695A-2F8E-4282-8B02-6156BD1E7B75}" dt="2023-09-17T17:45:43.785" v="3129"/>
        <pc:sldMkLst>
          <pc:docMk/>
          <pc:sldMk cId="878978948" sldId="484"/>
        </pc:sldMkLst>
      </pc:sldChg>
      <pc:sldChg chg="addSp delSp modSp del">
        <pc:chgData name="Peter Eichenberger" userId="728f4d23-4a61-4401-9315-f0ce5ffabd34" providerId="ADAL" clId="{A295695A-2F8E-4282-8B02-6156BD1E7B75}" dt="2023-09-17T14:32:09.384" v="304" actId="47"/>
        <pc:sldMkLst>
          <pc:docMk/>
          <pc:sldMk cId="2946829998" sldId="513"/>
        </pc:sldMkLst>
        <pc:picChg chg="add del mod">
          <ac:chgData name="Peter Eichenberger" userId="728f4d23-4a61-4401-9315-f0ce5ffabd34" providerId="ADAL" clId="{A295695A-2F8E-4282-8B02-6156BD1E7B75}" dt="2023-09-17T14:32:04.637" v="303" actId="478"/>
          <ac:picMkLst>
            <pc:docMk/>
            <pc:sldMk cId="2946829998" sldId="513"/>
            <ac:picMk id="1026" creationId="{7BFCEA1C-A417-1DB0-E614-BA8682276D11}"/>
          </ac:picMkLst>
        </pc:picChg>
      </pc:sldChg>
      <pc:sldChg chg="del">
        <pc:chgData name="Peter Eichenberger" userId="728f4d23-4a61-4401-9315-f0ce5ffabd34" providerId="ADAL" clId="{A295695A-2F8E-4282-8B02-6156BD1E7B75}" dt="2023-09-17T17:45:37.343" v="3128" actId="2696"/>
        <pc:sldMkLst>
          <pc:docMk/>
          <pc:sldMk cId="530915191" sldId="514"/>
        </pc:sldMkLst>
      </pc:sldChg>
      <pc:sldChg chg="add">
        <pc:chgData name="Peter Eichenberger" userId="728f4d23-4a61-4401-9315-f0ce5ffabd34" providerId="ADAL" clId="{A295695A-2F8E-4282-8B02-6156BD1E7B75}" dt="2023-09-17T17:45:43.785" v="3129"/>
        <pc:sldMkLst>
          <pc:docMk/>
          <pc:sldMk cId="2352652887" sldId="514"/>
        </pc:sldMkLst>
      </pc:sldChg>
      <pc:sldChg chg="del ord">
        <pc:chgData name="Peter Eichenberger" userId="728f4d23-4a61-4401-9315-f0ce5ffabd34" providerId="ADAL" clId="{A295695A-2F8E-4282-8B02-6156BD1E7B75}" dt="2023-09-17T17:45:37.343" v="3128" actId="2696"/>
        <pc:sldMkLst>
          <pc:docMk/>
          <pc:sldMk cId="991608520" sldId="516"/>
        </pc:sldMkLst>
      </pc:sldChg>
      <pc:sldChg chg="add">
        <pc:chgData name="Peter Eichenberger" userId="728f4d23-4a61-4401-9315-f0ce5ffabd34" providerId="ADAL" clId="{A295695A-2F8E-4282-8B02-6156BD1E7B75}" dt="2023-09-17T17:45:43.785" v="3129"/>
        <pc:sldMkLst>
          <pc:docMk/>
          <pc:sldMk cId="1252968542" sldId="516"/>
        </pc:sldMkLst>
      </pc:sldChg>
      <pc:sldChg chg="add">
        <pc:chgData name="Peter Eichenberger" userId="728f4d23-4a61-4401-9315-f0ce5ffabd34" providerId="ADAL" clId="{A295695A-2F8E-4282-8B02-6156BD1E7B75}" dt="2023-09-17T14:34:22.691" v="306"/>
        <pc:sldMkLst>
          <pc:docMk/>
          <pc:sldMk cId="864088383" sldId="526"/>
        </pc:sldMkLst>
      </pc:sldChg>
      <pc:sldChg chg="del">
        <pc:chgData name="Peter Eichenberger" userId="728f4d23-4a61-4401-9315-f0ce5ffabd34" providerId="ADAL" clId="{A295695A-2F8E-4282-8B02-6156BD1E7B75}" dt="2023-09-17T14:34:15.334" v="305" actId="2696"/>
        <pc:sldMkLst>
          <pc:docMk/>
          <pc:sldMk cId="4120692599" sldId="526"/>
        </pc:sldMkLst>
      </pc:sldChg>
      <pc:sldChg chg="add">
        <pc:chgData name="Peter Eichenberger" userId="728f4d23-4a61-4401-9315-f0ce5ffabd34" providerId="ADAL" clId="{A295695A-2F8E-4282-8B02-6156BD1E7B75}" dt="2023-09-17T17:45:43.785" v="3129"/>
        <pc:sldMkLst>
          <pc:docMk/>
          <pc:sldMk cId="1936084933" sldId="531"/>
        </pc:sldMkLst>
      </pc:sldChg>
      <pc:sldChg chg="modSp del mod">
        <pc:chgData name="Peter Eichenberger" userId="728f4d23-4a61-4401-9315-f0ce5ffabd34" providerId="ADAL" clId="{A295695A-2F8E-4282-8B02-6156BD1E7B75}" dt="2023-09-17T17:45:37.343" v="3128" actId="2696"/>
        <pc:sldMkLst>
          <pc:docMk/>
          <pc:sldMk cId="2460050842" sldId="531"/>
        </pc:sldMkLst>
        <pc:spChg chg="mod">
          <ac:chgData name="Peter Eichenberger" userId="728f4d23-4a61-4401-9315-f0ce5ffabd34" providerId="ADAL" clId="{A295695A-2F8E-4282-8B02-6156BD1E7B75}" dt="2023-09-17T14:10:29.198" v="0" actId="20577"/>
          <ac:spMkLst>
            <pc:docMk/>
            <pc:sldMk cId="2460050842" sldId="531"/>
            <ac:spMk id="31" creationId="{00000000-0000-0000-0000-000000000000}"/>
          </ac:spMkLst>
        </pc:spChg>
        <pc:spChg chg="mod">
          <ac:chgData name="Peter Eichenberger" userId="728f4d23-4a61-4401-9315-f0ce5ffabd34" providerId="ADAL" clId="{A295695A-2F8E-4282-8B02-6156BD1E7B75}" dt="2023-09-17T14:10:29.199" v="1" actId="20577"/>
          <ac:spMkLst>
            <pc:docMk/>
            <pc:sldMk cId="2460050842" sldId="531"/>
            <ac:spMk id="32" creationId="{00000000-0000-0000-0000-000000000000}"/>
          </ac:spMkLst>
        </pc:spChg>
      </pc:sldChg>
      <pc:sldChg chg="add">
        <pc:chgData name="Peter Eichenberger" userId="728f4d23-4a61-4401-9315-f0ce5ffabd34" providerId="ADAL" clId="{A295695A-2F8E-4282-8B02-6156BD1E7B75}" dt="2023-09-17T17:45:43.785" v="3129"/>
        <pc:sldMkLst>
          <pc:docMk/>
          <pc:sldMk cId="1706614181" sldId="532"/>
        </pc:sldMkLst>
      </pc:sldChg>
      <pc:sldChg chg="del">
        <pc:chgData name="Peter Eichenberger" userId="728f4d23-4a61-4401-9315-f0ce5ffabd34" providerId="ADAL" clId="{A295695A-2F8E-4282-8B02-6156BD1E7B75}" dt="2023-09-17T17:45:37.343" v="3128" actId="2696"/>
        <pc:sldMkLst>
          <pc:docMk/>
          <pc:sldMk cId="2815536250" sldId="532"/>
        </pc:sldMkLst>
      </pc:sldChg>
      <pc:sldChg chg="del ord">
        <pc:chgData name="Peter Eichenberger" userId="728f4d23-4a61-4401-9315-f0ce5ffabd34" providerId="ADAL" clId="{A295695A-2F8E-4282-8B02-6156BD1E7B75}" dt="2023-09-17T17:45:37.343" v="3128" actId="2696"/>
        <pc:sldMkLst>
          <pc:docMk/>
          <pc:sldMk cId="1753176234" sldId="536"/>
        </pc:sldMkLst>
      </pc:sldChg>
      <pc:sldChg chg="add">
        <pc:chgData name="Peter Eichenberger" userId="728f4d23-4a61-4401-9315-f0ce5ffabd34" providerId="ADAL" clId="{A295695A-2F8E-4282-8B02-6156BD1E7B75}" dt="2023-09-17T17:45:43.785" v="3129"/>
        <pc:sldMkLst>
          <pc:docMk/>
          <pc:sldMk cId="2455450611" sldId="536"/>
        </pc:sldMkLst>
      </pc:sldChg>
      <pc:sldChg chg="add del">
        <pc:chgData name="Peter Eichenberger" userId="728f4d23-4a61-4401-9315-f0ce5ffabd34" providerId="ADAL" clId="{A295695A-2F8E-4282-8B02-6156BD1E7B75}" dt="2023-09-17T17:31:52.598" v="2443" actId="47"/>
        <pc:sldMkLst>
          <pc:docMk/>
          <pc:sldMk cId="1612328262" sldId="543"/>
        </pc:sldMkLst>
      </pc:sldChg>
      <pc:sldChg chg="addSp modSp add mod">
        <pc:chgData name="Peter Eichenberger" userId="728f4d23-4a61-4401-9315-f0ce5ffabd34" providerId="ADAL" clId="{A295695A-2F8E-4282-8B02-6156BD1E7B75}" dt="2023-09-17T17:38:39.581" v="2722" actId="20577"/>
        <pc:sldMkLst>
          <pc:docMk/>
          <pc:sldMk cId="62524505" sldId="550"/>
        </pc:sldMkLst>
        <pc:spChg chg="mod">
          <ac:chgData name="Peter Eichenberger" userId="728f4d23-4a61-4401-9315-f0ce5ffabd34" providerId="ADAL" clId="{A295695A-2F8E-4282-8B02-6156BD1E7B75}" dt="2023-09-17T17:28:16.309" v="2316" actId="948"/>
          <ac:spMkLst>
            <pc:docMk/>
            <pc:sldMk cId="62524505" sldId="550"/>
            <ac:spMk id="9" creationId="{9D023124-1298-2156-4503-93FF5C32C8E3}"/>
          </ac:spMkLst>
        </pc:spChg>
        <pc:spChg chg="mod">
          <ac:chgData name="Peter Eichenberger" userId="728f4d23-4a61-4401-9315-f0ce5ffabd34" providerId="ADAL" clId="{A295695A-2F8E-4282-8B02-6156BD1E7B75}" dt="2023-09-17T16:46:56.657" v="2312" actId="27636"/>
          <ac:spMkLst>
            <pc:docMk/>
            <pc:sldMk cId="62524505" sldId="550"/>
            <ac:spMk id="11" creationId="{43FF8D18-0EB3-F45F-0D5E-9851033BF7FD}"/>
          </ac:spMkLst>
        </pc:spChg>
        <pc:spChg chg="mod">
          <ac:chgData name="Peter Eichenberger" userId="728f4d23-4a61-4401-9315-f0ce5ffabd34" providerId="ADAL" clId="{A295695A-2F8E-4282-8B02-6156BD1E7B75}" dt="2023-09-17T17:38:39.581" v="2722" actId="20577"/>
          <ac:spMkLst>
            <pc:docMk/>
            <pc:sldMk cId="62524505" sldId="550"/>
            <ac:spMk id="19" creationId="{40B4DC4C-2B3A-525D-8EF9-53665335CEEB}"/>
          </ac:spMkLst>
        </pc:spChg>
        <pc:graphicFrameChg chg="add mod ord modVis replST">
          <ac:chgData name="Peter Eichenberger" userId="728f4d23-4a61-4401-9315-f0ce5ffabd34" providerId="ADAL" clId="{A295695A-2F8E-4282-8B02-6156BD1E7B75}" dt="2023-09-17T17:28:16.342" v="2333"/>
          <ac:graphicFrameMkLst>
            <pc:docMk/>
            <pc:sldMk cId="62524505" sldId="550"/>
            <ac:graphicFrameMk id="2" creationId="{E2474138-76B8-3EB7-3953-975F48D27D8A}"/>
          </ac:graphicFrameMkLst>
        </pc:graphicFrameChg>
        <pc:picChg chg="mod">
          <ac:chgData name="Peter Eichenberger" userId="728f4d23-4a61-4401-9315-f0ce5ffabd34" providerId="ADAL" clId="{A295695A-2F8E-4282-8B02-6156BD1E7B75}" dt="2023-09-17T17:29:26.417" v="2421" actId="1076"/>
          <ac:picMkLst>
            <pc:docMk/>
            <pc:sldMk cId="62524505" sldId="550"/>
            <ac:picMk id="15" creationId="{3416FAB2-3909-105D-849E-67F148D6C950}"/>
          </ac:picMkLst>
        </pc:picChg>
        <pc:picChg chg="mod">
          <ac:chgData name="Peter Eichenberger" userId="728f4d23-4a61-4401-9315-f0ce5ffabd34" providerId="ADAL" clId="{A295695A-2F8E-4282-8B02-6156BD1E7B75}" dt="2023-09-17T17:29:25.121" v="2420" actId="1076"/>
          <ac:picMkLst>
            <pc:docMk/>
            <pc:sldMk cId="62524505" sldId="550"/>
            <ac:picMk id="17" creationId="{F1D4526A-23EC-ABCA-CA7B-B5CFA51CDC5A}"/>
          </ac:picMkLst>
        </pc:picChg>
      </pc:sldChg>
      <pc:sldChg chg="add">
        <pc:chgData name="Peter Eichenberger" userId="728f4d23-4a61-4401-9315-f0ce5ffabd34" providerId="ADAL" clId="{A295695A-2F8E-4282-8B02-6156BD1E7B75}" dt="2023-09-17T15:05:47.233" v="1963"/>
        <pc:sldMkLst>
          <pc:docMk/>
          <pc:sldMk cId="1153784482" sldId="553"/>
        </pc:sldMkLst>
      </pc:sldChg>
      <pc:sldChg chg="del">
        <pc:chgData name="Peter Eichenberger" userId="728f4d23-4a61-4401-9315-f0ce5ffabd34" providerId="ADAL" clId="{A295695A-2F8E-4282-8B02-6156BD1E7B75}" dt="2023-09-17T15:05:43.386" v="1962" actId="2696"/>
        <pc:sldMkLst>
          <pc:docMk/>
          <pc:sldMk cId="1938417464" sldId="553"/>
        </pc:sldMkLst>
      </pc:sldChg>
      <pc:sldChg chg="addSp delSp modSp add mod">
        <pc:chgData name="Peter Eichenberger" userId="728f4d23-4a61-4401-9315-f0ce5ffabd34" providerId="ADAL" clId="{A295695A-2F8E-4282-8B02-6156BD1E7B75}" dt="2023-09-17T14:48:54.997" v="705" actId="1076"/>
        <pc:sldMkLst>
          <pc:docMk/>
          <pc:sldMk cId="1621138605" sldId="554"/>
        </pc:sldMkLst>
        <pc:spChg chg="mod ord">
          <ac:chgData name="Peter Eichenberger" userId="728f4d23-4a61-4401-9315-f0ce5ffabd34" providerId="ADAL" clId="{A295695A-2F8E-4282-8B02-6156BD1E7B75}" dt="2023-09-17T14:42:46.860" v="568"/>
          <ac:spMkLst>
            <pc:docMk/>
            <pc:sldMk cId="1621138605" sldId="554"/>
            <ac:spMk id="2" creationId="{00000000-0000-0000-0000-000000000000}"/>
          </ac:spMkLst>
        </pc:spChg>
        <pc:spChg chg="mod ord">
          <ac:chgData name="Peter Eichenberger" userId="728f4d23-4a61-4401-9315-f0ce5ffabd34" providerId="ADAL" clId="{A295695A-2F8E-4282-8B02-6156BD1E7B75}" dt="2023-09-17T14:42:46.860" v="570"/>
          <ac:spMkLst>
            <pc:docMk/>
            <pc:sldMk cId="1621138605" sldId="554"/>
            <ac:spMk id="3" creationId="{00000000-0000-0000-0000-000000000000}"/>
          </ac:spMkLst>
        </pc:spChg>
        <pc:spChg chg="mod ord">
          <ac:chgData name="Peter Eichenberger" userId="728f4d23-4a61-4401-9315-f0ce5ffabd34" providerId="ADAL" clId="{A295695A-2F8E-4282-8B02-6156BD1E7B75}" dt="2023-09-17T14:42:46.860" v="572"/>
          <ac:spMkLst>
            <pc:docMk/>
            <pc:sldMk cId="1621138605" sldId="554"/>
            <ac:spMk id="4" creationId="{00000000-0000-0000-0000-000000000000}"/>
          </ac:spMkLst>
        </pc:spChg>
        <pc:spChg chg="mod ord">
          <ac:chgData name="Peter Eichenberger" userId="728f4d23-4a61-4401-9315-f0ce5ffabd34" providerId="ADAL" clId="{A295695A-2F8E-4282-8B02-6156BD1E7B75}" dt="2023-09-17T14:42:46.861" v="574"/>
          <ac:spMkLst>
            <pc:docMk/>
            <pc:sldMk cId="1621138605" sldId="554"/>
            <ac:spMk id="5" creationId="{00000000-0000-0000-0000-000000000000}"/>
          </ac:spMkLst>
        </pc:spChg>
        <pc:spChg chg="add del mod">
          <ac:chgData name="Peter Eichenberger" userId="728f4d23-4a61-4401-9315-f0ce5ffabd34" providerId="ADAL" clId="{A295695A-2F8E-4282-8B02-6156BD1E7B75}" dt="2023-09-17T14:41:48.823" v="524" actId="478"/>
          <ac:spMkLst>
            <pc:docMk/>
            <pc:sldMk cId="1621138605" sldId="554"/>
            <ac:spMk id="6" creationId="{2C1A72FF-2F40-0207-F683-3CEF69BA968B}"/>
          </ac:spMkLst>
        </pc:spChg>
        <pc:spChg chg="mod ord">
          <ac:chgData name="Peter Eichenberger" userId="728f4d23-4a61-4401-9315-f0ce5ffabd34" providerId="ADAL" clId="{A295695A-2F8E-4282-8B02-6156BD1E7B75}" dt="2023-09-17T14:42:46.861" v="576"/>
          <ac:spMkLst>
            <pc:docMk/>
            <pc:sldMk cId="1621138605" sldId="554"/>
            <ac:spMk id="7" creationId="{00000000-0000-0000-0000-000000000000}"/>
          </ac:spMkLst>
        </pc:spChg>
        <pc:spChg chg="add del mod">
          <ac:chgData name="Peter Eichenberger" userId="728f4d23-4a61-4401-9315-f0ce5ffabd34" providerId="ADAL" clId="{A295695A-2F8E-4282-8B02-6156BD1E7B75}" dt="2023-09-17T14:41:49.857" v="525" actId="478"/>
          <ac:spMkLst>
            <pc:docMk/>
            <pc:sldMk cId="1621138605" sldId="554"/>
            <ac:spMk id="8" creationId="{3DB7DBB7-8EC4-AB2F-909C-57A6C52C369A}"/>
          </ac:spMkLst>
        </pc:spChg>
        <pc:spChg chg="add del mod">
          <ac:chgData name="Peter Eichenberger" userId="728f4d23-4a61-4401-9315-f0ce5ffabd34" providerId="ADAL" clId="{A295695A-2F8E-4282-8B02-6156BD1E7B75}" dt="2023-09-17T14:41:50.785" v="526" actId="478"/>
          <ac:spMkLst>
            <pc:docMk/>
            <pc:sldMk cId="1621138605" sldId="554"/>
            <ac:spMk id="9" creationId="{80C8720C-466E-D956-9EA0-72553E399289}"/>
          </ac:spMkLst>
        </pc:spChg>
        <pc:spChg chg="del mod">
          <ac:chgData name="Peter Eichenberger" userId="728f4d23-4a61-4401-9315-f0ce5ffabd34" providerId="ADAL" clId="{A295695A-2F8E-4282-8B02-6156BD1E7B75}" dt="2023-09-17T14:40:52.105" v="518" actId="478"/>
          <ac:spMkLst>
            <pc:docMk/>
            <pc:sldMk cId="1621138605" sldId="554"/>
            <ac:spMk id="11" creationId="{00000000-0000-0000-0000-000000000000}"/>
          </ac:spMkLst>
        </pc:spChg>
        <pc:spChg chg="mod ord">
          <ac:chgData name="Peter Eichenberger" userId="728f4d23-4a61-4401-9315-f0ce5ffabd34" providerId="ADAL" clId="{A295695A-2F8E-4282-8B02-6156BD1E7B75}" dt="2023-09-17T14:47:45.462" v="697" actId="1076"/>
          <ac:spMkLst>
            <pc:docMk/>
            <pc:sldMk cId="1621138605" sldId="554"/>
            <ac:spMk id="12" creationId="{00000000-0000-0000-0000-000000000000}"/>
          </ac:spMkLst>
        </pc:spChg>
        <pc:spChg chg="add del mod modVis">
          <ac:chgData name="Peter Eichenberger" userId="728f4d23-4a61-4401-9315-f0ce5ffabd34" providerId="ADAL" clId="{A295695A-2F8E-4282-8B02-6156BD1E7B75}" dt="2023-09-17T14:42:46.863" v="582"/>
          <ac:spMkLst>
            <pc:docMk/>
            <pc:sldMk cId="1621138605" sldId="554"/>
            <ac:spMk id="13" creationId="{EBA11239-5180-3B56-66D2-2FAA386DAD59}"/>
          </ac:spMkLst>
        </pc:spChg>
        <pc:spChg chg="add mod">
          <ac:chgData name="Peter Eichenberger" userId="728f4d23-4a61-4401-9315-f0ce5ffabd34" providerId="ADAL" clId="{A295695A-2F8E-4282-8B02-6156BD1E7B75}" dt="2023-09-17T14:47:45.462" v="697" actId="1076"/>
          <ac:spMkLst>
            <pc:docMk/>
            <pc:sldMk cId="1621138605" sldId="554"/>
            <ac:spMk id="15" creationId="{E25C7F4F-1B20-EFC1-19B3-B293C4C73194}"/>
          </ac:spMkLst>
        </pc:spChg>
        <pc:spChg chg="add mod">
          <ac:chgData name="Peter Eichenberger" userId="728f4d23-4a61-4401-9315-f0ce5ffabd34" providerId="ADAL" clId="{A295695A-2F8E-4282-8B02-6156BD1E7B75}" dt="2023-09-17T14:47:45.462" v="697" actId="1076"/>
          <ac:spMkLst>
            <pc:docMk/>
            <pc:sldMk cId="1621138605" sldId="554"/>
            <ac:spMk id="16" creationId="{61CBA017-84ED-9C4F-2F07-AB80A5A05FD1}"/>
          </ac:spMkLst>
        </pc:spChg>
        <pc:spChg chg="add mod">
          <ac:chgData name="Peter Eichenberger" userId="728f4d23-4a61-4401-9315-f0ce5ffabd34" providerId="ADAL" clId="{A295695A-2F8E-4282-8B02-6156BD1E7B75}" dt="2023-09-17T14:48:54.997" v="705" actId="1076"/>
          <ac:spMkLst>
            <pc:docMk/>
            <pc:sldMk cId="1621138605" sldId="554"/>
            <ac:spMk id="17" creationId="{7EB1FDE0-59C1-AFD2-5BF8-EDEF439E3955}"/>
          </ac:spMkLst>
        </pc:spChg>
        <pc:spChg chg="add del mod">
          <ac:chgData name="Peter Eichenberger" userId="728f4d23-4a61-4401-9315-f0ce5ffabd34" providerId="ADAL" clId="{A295695A-2F8E-4282-8B02-6156BD1E7B75}" dt="2023-09-17T14:48:03.619" v="699"/>
          <ac:spMkLst>
            <pc:docMk/>
            <pc:sldMk cId="1621138605" sldId="554"/>
            <ac:spMk id="18" creationId="{491C8B22-D294-E866-4AAD-A95CFB9C14DA}"/>
          </ac:spMkLst>
        </pc:spChg>
        <pc:graphicFrameChg chg="add mod ord modVis replST">
          <ac:chgData name="Peter Eichenberger" userId="728f4d23-4a61-4401-9315-f0ce5ffabd34" providerId="ADAL" clId="{A295695A-2F8E-4282-8B02-6156BD1E7B75}" dt="2023-09-17T14:42:46.882" v="597"/>
          <ac:graphicFrameMkLst>
            <pc:docMk/>
            <pc:sldMk cId="1621138605" sldId="554"/>
            <ac:graphicFrameMk id="14" creationId="{9EE7E879-CAE4-71D4-CDF8-6514783BFC3B}"/>
          </ac:graphicFrameMkLst>
        </pc:graphicFrameChg>
        <pc:picChg chg="mod ord modCrop">
          <ac:chgData name="Peter Eichenberger" userId="728f4d23-4a61-4401-9315-f0ce5ffabd34" providerId="ADAL" clId="{A295695A-2F8E-4282-8B02-6156BD1E7B75}" dt="2023-09-17T14:47:45.462" v="697" actId="1076"/>
          <ac:picMkLst>
            <pc:docMk/>
            <pc:sldMk cId="1621138605" sldId="554"/>
            <ac:picMk id="10" creationId="{00000000-0000-0000-0000-000000000000}"/>
          </ac:picMkLst>
        </pc:picChg>
      </pc:sldChg>
      <pc:sldChg chg="del">
        <pc:chgData name="Peter Eichenberger" userId="728f4d23-4a61-4401-9315-f0ce5ffabd34" providerId="ADAL" clId="{A295695A-2F8E-4282-8B02-6156BD1E7B75}" dt="2023-09-17T14:21:09.187" v="170" actId="2696"/>
        <pc:sldMkLst>
          <pc:docMk/>
          <pc:sldMk cId="4046813708" sldId="554"/>
        </pc:sldMkLst>
      </pc:sldChg>
      <pc:sldChg chg="del">
        <pc:chgData name="Peter Eichenberger" userId="728f4d23-4a61-4401-9315-f0ce5ffabd34" providerId="ADAL" clId="{A295695A-2F8E-4282-8B02-6156BD1E7B75}" dt="2023-09-17T14:34:15.334" v="305" actId="2696"/>
        <pc:sldMkLst>
          <pc:docMk/>
          <pc:sldMk cId="735671568" sldId="555"/>
        </pc:sldMkLst>
      </pc:sldChg>
      <pc:sldChg chg="addSp delSp modSp add mod">
        <pc:chgData name="Peter Eichenberger" userId="728f4d23-4a61-4401-9315-f0ce5ffabd34" providerId="ADAL" clId="{A295695A-2F8E-4282-8B02-6156BD1E7B75}" dt="2023-09-17T14:53:10.379" v="1083" actId="1076"/>
        <pc:sldMkLst>
          <pc:docMk/>
          <pc:sldMk cId="3639136353" sldId="555"/>
        </pc:sldMkLst>
        <pc:spChg chg="mod">
          <ac:chgData name="Peter Eichenberger" userId="728f4d23-4a61-4401-9315-f0ce5ffabd34" providerId="ADAL" clId="{A295695A-2F8E-4282-8B02-6156BD1E7B75}" dt="2023-09-17T14:53:03.004" v="1054" actId="948"/>
          <ac:spMkLst>
            <pc:docMk/>
            <pc:sldMk cId="3639136353" sldId="555"/>
            <ac:spMk id="5" creationId="{00000000-0000-0000-0000-000000000000}"/>
          </ac:spMkLst>
        </pc:spChg>
        <pc:spChg chg="mod">
          <ac:chgData name="Peter Eichenberger" userId="728f4d23-4a61-4401-9315-f0ce5ffabd34" providerId="ADAL" clId="{A295695A-2F8E-4282-8B02-6156BD1E7B75}" dt="2023-09-17T14:53:08.818" v="1082" actId="1076"/>
          <ac:spMkLst>
            <pc:docMk/>
            <pc:sldMk cId="3639136353" sldId="555"/>
            <ac:spMk id="6" creationId="{00000000-0000-0000-0000-000000000000}"/>
          </ac:spMkLst>
        </pc:spChg>
        <pc:spChg chg="add del mod modVis">
          <ac:chgData name="Peter Eichenberger" userId="728f4d23-4a61-4401-9315-f0ce5ffabd34" providerId="ADAL" clId="{A295695A-2F8E-4282-8B02-6156BD1E7B75}" dt="2023-09-17T14:50:55.681" v="830"/>
          <ac:spMkLst>
            <pc:docMk/>
            <pc:sldMk cId="3639136353" sldId="555"/>
            <ac:spMk id="10" creationId="{8B419375-1EFE-43A5-864B-124DFA3C63DB}"/>
          </ac:spMkLst>
        </pc:spChg>
        <pc:spChg chg="add del mod modVis">
          <ac:chgData name="Peter Eichenberger" userId="728f4d23-4a61-4401-9315-f0ce5ffabd34" providerId="ADAL" clId="{A295695A-2F8E-4282-8B02-6156BD1E7B75}" dt="2023-09-17T14:50:56.714" v="873"/>
          <ac:spMkLst>
            <pc:docMk/>
            <pc:sldMk cId="3639136353" sldId="555"/>
            <ac:spMk id="12" creationId="{713466B2-ACD9-B50C-69CE-8D7807185322}"/>
          </ac:spMkLst>
        </pc:spChg>
        <pc:spChg chg="add del mod modVis">
          <ac:chgData name="Peter Eichenberger" userId="728f4d23-4a61-4401-9315-f0ce5ffabd34" providerId="ADAL" clId="{A295695A-2F8E-4282-8B02-6156BD1E7B75}" dt="2023-09-17T14:50:57.510" v="903"/>
          <ac:spMkLst>
            <pc:docMk/>
            <pc:sldMk cId="3639136353" sldId="555"/>
            <ac:spMk id="13" creationId="{60844708-D2AA-7997-D8F3-0A4601D39A5B}"/>
          </ac:spMkLst>
        </pc:spChg>
        <pc:spChg chg="add del mod modVis">
          <ac:chgData name="Peter Eichenberger" userId="728f4d23-4a61-4401-9315-f0ce5ffabd34" providerId="ADAL" clId="{A295695A-2F8E-4282-8B02-6156BD1E7B75}" dt="2023-09-17T14:52:54.603" v="953"/>
          <ac:spMkLst>
            <pc:docMk/>
            <pc:sldMk cId="3639136353" sldId="555"/>
            <ac:spMk id="14" creationId="{6D2AC9F8-D557-6E25-38E8-6CA0DBFEA4F3}"/>
          </ac:spMkLst>
        </pc:spChg>
        <pc:spChg chg="add del mod modVis">
          <ac:chgData name="Peter Eichenberger" userId="728f4d23-4a61-4401-9315-f0ce5ffabd34" providerId="ADAL" clId="{A295695A-2F8E-4282-8B02-6156BD1E7B75}" dt="2023-09-17T14:52:56.884" v="992"/>
          <ac:spMkLst>
            <pc:docMk/>
            <pc:sldMk cId="3639136353" sldId="555"/>
            <ac:spMk id="15" creationId="{CE3B3117-1F83-6A93-B610-59F9E4DED903}"/>
          </ac:spMkLst>
        </pc:spChg>
        <pc:spChg chg="add del mod modVis">
          <ac:chgData name="Peter Eichenberger" userId="728f4d23-4a61-4401-9315-f0ce5ffabd34" providerId="ADAL" clId="{A295695A-2F8E-4282-8B02-6156BD1E7B75}" dt="2023-09-17T14:52:57.656" v="1021"/>
          <ac:spMkLst>
            <pc:docMk/>
            <pc:sldMk cId="3639136353" sldId="555"/>
            <ac:spMk id="16" creationId="{3F0FDE39-356C-A6FE-CFB3-92548F3472D0}"/>
          </ac:spMkLst>
        </pc:spChg>
        <pc:spChg chg="add del mod modVis">
          <ac:chgData name="Peter Eichenberger" userId="728f4d23-4a61-4401-9315-f0ce5ffabd34" providerId="ADAL" clId="{A295695A-2F8E-4282-8B02-6156BD1E7B75}" dt="2023-09-17T14:53:00.817" v="1050"/>
          <ac:spMkLst>
            <pc:docMk/>
            <pc:sldMk cId="3639136353" sldId="555"/>
            <ac:spMk id="17" creationId="{99429759-2243-33AA-F922-ADA320C8E33A}"/>
          </ac:spMkLst>
        </pc:spChg>
        <pc:spChg chg="add del mod modVis">
          <ac:chgData name="Peter Eichenberger" userId="728f4d23-4a61-4401-9315-f0ce5ffabd34" providerId="ADAL" clId="{A295695A-2F8E-4282-8B02-6156BD1E7B75}" dt="2023-09-17T14:53:03.018" v="1079"/>
          <ac:spMkLst>
            <pc:docMk/>
            <pc:sldMk cId="3639136353" sldId="555"/>
            <ac:spMk id="18" creationId="{18B0B903-97A6-196D-6B40-6290D1FB7B46}"/>
          </ac:spMkLst>
        </pc:spChg>
        <pc:graphicFrameChg chg="add mod ord modVis replST">
          <ac:chgData name="Peter Eichenberger" userId="728f4d23-4a61-4401-9315-f0ce5ffabd34" providerId="ADAL" clId="{A295695A-2F8E-4282-8B02-6156BD1E7B75}" dt="2023-09-17T14:53:03.021" v="1081"/>
          <ac:graphicFrameMkLst>
            <pc:docMk/>
            <pc:sldMk cId="3639136353" sldId="555"/>
            <ac:graphicFrameMk id="11" creationId="{8C268544-BF5D-7714-F96A-2433CD6BCED1}"/>
          </ac:graphicFrameMkLst>
        </pc:graphicFrameChg>
        <pc:picChg chg="mod">
          <ac:chgData name="Peter Eichenberger" userId="728f4d23-4a61-4401-9315-f0ce5ffabd34" providerId="ADAL" clId="{A295695A-2F8E-4282-8B02-6156BD1E7B75}" dt="2023-09-17T14:53:10.379" v="1083" actId="1076"/>
          <ac:picMkLst>
            <pc:docMk/>
            <pc:sldMk cId="3639136353" sldId="555"/>
            <ac:picMk id="8" creationId="{00000000-0000-0000-0000-000000000000}"/>
          </ac:picMkLst>
        </pc:picChg>
      </pc:sldChg>
      <pc:sldChg chg="addSp delSp modSp del mod modNotesTx">
        <pc:chgData name="Peter Eichenberger" userId="728f4d23-4a61-4401-9315-f0ce5ffabd34" providerId="ADAL" clId="{A295695A-2F8E-4282-8B02-6156BD1E7B75}" dt="2023-09-17T14:16:11.388" v="6" actId="2696"/>
        <pc:sldMkLst>
          <pc:docMk/>
          <pc:sldMk cId="1128892017" sldId="558"/>
        </pc:sldMkLst>
        <pc:spChg chg="add del mod">
          <ac:chgData name="Peter Eichenberger" userId="728f4d23-4a61-4401-9315-f0ce5ffabd34" providerId="ADAL" clId="{A295695A-2F8E-4282-8B02-6156BD1E7B75}" dt="2023-09-17T14:15:32.998" v="3" actId="478"/>
          <ac:spMkLst>
            <pc:docMk/>
            <pc:sldMk cId="1128892017" sldId="558"/>
            <ac:spMk id="6" creationId="{489C0317-9C33-4C3B-7166-2E7FFA2EDAF5}"/>
          </ac:spMkLst>
        </pc:spChg>
        <pc:picChg chg="add del mod">
          <ac:chgData name="Peter Eichenberger" userId="728f4d23-4a61-4401-9315-f0ce5ffabd34" providerId="ADAL" clId="{A295695A-2F8E-4282-8B02-6156BD1E7B75}" dt="2023-09-17T14:15:43.054" v="4" actId="14826"/>
          <ac:picMkLst>
            <pc:docMk/>
            <pc:sldMk cId="1128892017" sldId="558"/>
            <ac:picMk id="13" creationId="{00000000-0000-0000-0000-000000000000}"/>
          </ac:picMkLst>
        </pc:picChg>
      </pc:sldChg>
      <pc:sldChg chg="addSp delSp modSp add del mod modNotesTx">
        <pc:chgData name="Peter Eichenberger" userId="728f4d23-4a61-4401-9315-f0ce5ffabd34" providerId="ADAL" clId="{A295695A-2F8E-4282-8B02-6156BD1E7B75}" dt="2023-09-17T17:45:57.427" v="3130" actId="2696"/>
        <pc:sldMkLst>
          <pc:docMk/>
          <pc:sldMk cId="1950612278" sldId="558"/>
        </pc:sldMkLst>
        <pc:spChg chg="add del mod modVis">
          <ac:chgData name="Peter Eichenberger" userId="728f4d23-4a61-4401-9315-f0ce5ffabd34" providerId="ADAL" clId="{A295695A-2F8E-4282-8B02-6156BD1E7B75}" dt="2023-09-17T14:37:49.533" v="374"/>
          <ac:spMkLst>
            <pc:docMk/>
            <pc:sldMk cId="1950612278" sldId="558"/>
            <ac:spMk id="6" creationId="{01A2DBC2-C839-5D1E-CCF7-B6D2E97A3C24}"/>
          </ac:spMkLst>
        </pc:spChg>
        <pc:spChg chg="add del mod modVis">
          <ac:chgData name="Peter Eichenberger" userId="728f4d23-4a61-4401-9315-f0ce5ffabd34" providerId="ADAL" clId="{A295695A-2F8E-4282-8B02-6156BD1E7B75}" dt="2023-09-17T14:37:50.882" v="406"/>
          <ac:spMkLst>
            <pc:docMk/>
            <pc:sldMk cId="1950612278" sldId="558"/>
            <ac:spMk id="7" creationId="{2321C485-1DB9-1043-B98E-3EB292EA91F1}"/>
          </ac:spMkLst>
        </pc:spChg>
        <pc:spChg chg="mod">
          <ac:chgData name="Peter Eichenberger" userId="728f4d23-4a61-4401-9315-f0ce5ffabd34" providerId="ADAL" clId="{A295695A-2F8E-4282-8B02-6156BD1E7B75}" dt="2023-09-17T14:37:54.750" v="440" actId="948"/>
          <ac:spMkLst>
            <pc:docMk/>
            <pc:sldMk cId="1950612278" sldId="558"/>
            <ac:spMk id="8" creationId="{00000000-0000-0000-0000-000000000000}"/>
          </ac:spMkLst>
        </pc:spChg>
        <pc:spChg chg="add del mod modVis">
          <ac:chgData name="Peter Eichenberger" userId="728f4d23-4a61-4401-9315-f0ce5ffabd34" providerId="ADAL" clId="{A295695A-2F8E-4282-8B02-6156BD1E7B75}" dt="2023-09-17T14:37:51.740" v="436"/>
          <ac:spMkLst>
            <pc:docMk/>
            <pc:sldMk cId="1950612278" sldId="558"/>
            <ac:spMk id="9" creationId="{AFD413F2-9658-4EA1-8A7A-3643DF9C98D8}"/>
          </ac:spMkLst>
        </pc:spChg>
        <pc:spChg chg="mod">
          <ac:chgData name="Peter Eichenberger" userId="728f4d23-4a61-4401-9315-f0ce5ffabd34" providerId="ADAL" clId="{A295695A-2F8E-4282-8B02-6156BD1E7B75}" dt="2023-09-17T14:37:57.558" v="468" actId="6549"/>
          <ac:spMkLst>
            <pc:docMk/>
            <pc:sldMk cId="1950612278" sldId="558"/>
            <ac:spMk id="10" creationId="{00000000-0000-0000-0000-000000000000}"/>
          </ac:spMkLst>
        </pc:spChg>
        <pc:spChg chg="add del mod modVis">
          <ac:chgData name="Peter Eichenberger" userId="728f4d23-4a61-4401-9315-f0ce5ffabd34" providerId="ADAL" clId="{A295695A-2F8E-4282-8B02-6156BD1E7B75}" dt="2023-09-17T14:37:54.766" v="465"/>
          <ac:spMkLst>
            <pc:docMk/>
            <pc:sldMk cId="1950612278" sldId="558"/>
            <ac:spMk id="11" creationId="{09C1AEBC-971F-3481-1E43-A474D789FD0A}"/>
          </ac:spMkLst>
        </pc:spChg>
        <pc:graphicFrameChg chg="add mod ord modVis replST">
          <ac:chgData name="Peter Eichenberger" userId="728f4d23-4a61-4401-9315-f0ce5ffabd34" providerId="ADAL" clId="{A295695A-2F8E-4282-8B02-6156BD1E7B75}" dt="2023-09-17T14:37:54.767" v="467"/>
          <ac:graphicFrameMkLst>
            <pc:docMk/>
            <pc:sldMk cId="1950612278" sldId="558"/>
            <ac:graphicFrameMk id="5" creationId="{56D661F8-16FE-4ED1-8AB9-A1E9F66AB222}"/>
          </ac:graphicFrameMkLst>
        </pc:graphicFrameChg>
        <pc:picChg chg="mod">
          <ac:chgData name="Peter Eichenberger" userId="728f4d23-4a61-4401-9315-f0ce5ffabd34" providerId="ADAL" clId="{A295695A-2F8E-4282-8B02-6156BD1E7B75}" dt="2023-09-17T14:37:21.583" v="310" actId="14826"/>
          <ac:picMkLst>
            <pc:docMk/>
            <pc:sldMk cId="1950612278" sldId="558"/>
            <ac:picMk id="13" creationId="{00000000-0000-0000-0000-000000000000}"/>
          </ac:picMkLst>
        </pc:picChg>
      </pc:sldChg>
      <pc:sldChg chg="add">
        <pc:chgData name="Peter Eichenberger" userId="728f4d23-4a61-4401-9315-f0ce5ffabd34" providerId="ADAL" clId="{A295695A-2F8E-4282-8B02-6156BD1E7B75}" dt="2023-09-17T17:46:01.966" v="3131"/>
        <pc:sldMkLst>
          <pc:docMk/>
          <pc:sldMk cId="3080180673" sldId="558"/>
        </pc:sldMkLst>
      </pc:sldChg>
      <pc:sldChg chg="del">
        <pc:chgData name="Peter Eichenberger" userId="728f4d23-4a61-4401-9315-f0ce5ffabd34" providerId="ADAL" clId="{A295695A-2F8E-4282-8B02-6156BD1E7B75}" dt="2023-09-17T17:45:37.343" v="3128" actId="2696"/>
        <pc:sldMkLst>
          <pc:docMk/>
          <pc:sldMk cId="1122339693" sldId="559"/>
        </pc:sldMkLst>
      </pc:sldChg>
      <pc:sldChg chg="add">
        <pc:chgData name="Peter Eichenberger" userId="728f4d23-4a61-4401-9315-f0ce5ffabd34" providerId="ADAL" clId="{A295695A-2F8E-4282-8B02-6156BD1E7B75}" dt="2023-09-17T17:45:43.785" v="3129"/>
        <pc:sldMkLst>
          <pc:docMk/>
          <pc:sldMk cId="1407888944" sldId="559"/>
        </pc:sldMkLst>
      </pc:sldChg>
      <pc:sldChg chg="del">
        <pc:chgData name="Peter Eichenberger" userId="728f4d23-4a61-4401-9315-f0ce5ffabd34" providerId="ADAL" clId="{A295695A-2F8E-4282-8B02-6156BD1E7B75}" dt="2023-09-17T17:45:37.343" v="3128" actId="2696"/>
        <pc:sldMkLst>
          <pc:docMk/>
          <pc:sldMk cId="1245940260" sldId="560"/>
        </pc:sldMkLst>
      </pc:sldChg>
      <pc:sldChg chg="add">
        <pc:chgData name="Peter Eichenberger" userId="728f4d23-4a61-4401-9315-f0ce5ffabd34" providerId="ADAL" clId="{A295695A-2F8E-4282-8B02-6156BD1E7B75}" dt="2023-09-17T17:45:43.785" v="3129"/>
        <pc:sldMkLst>
          <pc:docMk/>
          <pc:sldMk cId="4016821092" sldId="560"/>
        </pc:sldMkLst>
      </pc:sldChg>
      <pc:sldChg chg="del">
        <pc:chgData name="Peter Eichenberger" userId="728f4d23-4a61-4401-9315-f0ce5ffabd34" providerId="ADAL" clId="{A295695A-2F8E-4282-8B02-6156BD1E7B75}" dt="2023-09-17T17:45:37.343" v="3128" actId="2696"/>
        <pc:sldMkLst>
          <pc:docMk/>
          <pc:sldMk cId="189095761" sldId="561"/>
        </pc:sldMkLst>
      </pc:sldChg>
      <pc:sldChg chg="add">
        <pc:chgData name="Peter Eichenberger" userId="728f4d23-4a61-4401-9315-f0ce5ffabd34" providerId="ADAL" clId="{A295695A-2F8E-4282-8B02-6156BD1E7B75}" dt="2023-09-17T17:45:43.785" v="3129"/>
        <pc:sldMkLst>
          <pc:docMk/>
          <pc:sldMk cId="636668247" sldId="561"/>
        </pc:sldMkLst>
      </pc:sldChg>
      <pc:sldChg chg="modSp add mod">
        <pc:chgData name="Peter Eichenberger" userId="728f4d23-4a61-4401-9315-f0ce5ffabd34" providerId="ADAL" clId="{A295695A-2F8E-4282-8B02-6156BD1E7B75}" dt="2023-09-17T15:02:33.999" v="1953" actId="1076"/>
        <pc:sldMkLst>
          <pc:docMk/>
          <pc:sldMk cId="443651663" sldId="562"/>
        </pc:sldMkLst>
        <pc:spChg chg="mod">
          <ac:chgData name="Peter Eichenberger" userId="728f4d23-4a61-4401-9315-f0ce5ffabd34" providerId="ADAL" clId="{A295695A-2F8E-4282-8B02-6156BD1E7B75}" dt="2023-09-17T15:02:33.999" v="1953" actId="1076"/>
          <ac:spMkLst>
            <pc:docMk/>
            <pc:sldMk cId="443651663" sldId="562"/>
            <ac:spMk id="6" creationId="{00000000-0000-0000-0000-000000000000}"/>
          </ac:spMkLst>
        </pc:spChg>
        <pc:spChg chg="mod">
          <ac:chgData name="Peter Eichenberger" userId="728f4d23-4a61-4401-9315-f0ce5ffabd34" providerId="ADAL" clId="{A295695A-2F8E-4282-8B02-6156BD1E7B75}" dt="2023-09-17T15:02:05.485" v="1952" actId="20577"/>
          <ac:spMkLst>
            <pc:docMk/>
            <pc:sldMk cId="443651663" sldId="562"/>
            <ac:spMk id="14" creationId="{00000000-0000-0000-0000-000000000000}"/>
          </ac:spMkLst>
        </pc:spChg>
      </pc:sldChg>
      <pc:sldChg chg="del">
        <pc:chgData name="Peter Eichenberger" userId="728f4d23-4a61-4401-9315-f0ce5ffabd34" providerId="ADAL" clId="{A295695A-2F8E-4282-8B02-6156BD1E7B75}" dt="2023-09-17T14:34:15.334" v="305" actId="2696"/>
        <pc:sldMkLst>
          <pc:docMk/>
          <pc:sldMk cId="2922513775" sldId="562"/>
        </pc:sldMkLst>
      </pc:sldChg>
      <pc:sldChg chg="add del ord">
        <pc:chgData name="Peter Eichenberger" userId="728f4d23-4a61-4401-9315-f0ce5ffabd34" providerId="ADAL" clId="{A295695A-2F8E-4282-8B02-6156BD1E7B75}" dt="2023-09-17T15:04:08.923" v="1957" actId="47"/>
        <pc:sldMkLst>
          <pc:docMk/>
          <pc:sldMk cId="1694133919" sldId="563"/>
        </pc:sldMkLst>
      </pc:sldChg>
      <pc:sldChg chg="del">
        <pc:chgData name="Peter Eichenberger" userId="728f4d23-4a61-4401-9315-f0ce5ffabd34" providerId="ADAL" clId="{A295695A-2F8E-4282-8B02-6156BD1E7B75}" dt="2023-09-17T14:34:15.334" v="305" actId="2696"/>
        <pc:sldMkLst>
          <pc:docMk/>
          <pc:sldMk cId="1878710504" sldId="563"/>
        </pc:sldMkLst>
      </pc:sldChg>
      <pc:sldChg chg="del">
        <pc:chgData name="Peter Eichenberger" userId="728f4d23-4a61-4401-9315-f0ce5ffabd34" providerId="ADAL" clId="{A295695A-2F8E-4282-8B02-6156BD1E7B75}" dt="2023-09-17T14:34:15.334" v="305" actId="2696"/>
        <pc:sldMkLst>
          <pc:docMk/>
          <pc:sldMk cId="2366108702" sldId="564"/>
        </pc:sldMkLst>
      </pc:sldChg>
      <pc:sldChg chg="add">
        <pc:chgData name="Peter Eichenberger" userId="728f4d23-4a61-4401-9315-f0ce5ffabd34" providerId="ADAL" clId="{A295695A-2F8E-4282-8B02-6156BD1E7B75}" dt="2023-09-17T14:34:22.691" v="306"/>
        <pc:sldMkLst>
          <pc:docMk/>
          <pc:sldMk cId="4206646034" sldId="564"/>
        </pc:sldMkLst>
      </pc:sldChg>
      <pc:sldChg chg="del">
        <pc:chgData name="Peter Eichenberger" userId="728f4d23-4a61-4401-9315-f0ce5ffabd34" providerId="ADAL" clId="{A295695A-2F8E-4282-8B02-6156BD1E7B75}" dt="2023-09-17T14:34:15.334" v="305" actId="2696"/>
        <pc:sldMkLst>
          <pc:docMk/>
          <pc:sldMk cId="848276434" sldId="565"/>
        </pc:sldMkLst>
      </pc:sldChg>
      <pc:sldChg chg="add del">
        <pc:chgData name="Peter Eichenberger" userId="728f4d23-4a61-4401-9315-f0ce5ffabd34" providerId="ADAL" clId="{A295695A-2F8E-4282-8B02-6156BD1E7B75}" dt="2023-09-17T15:04:01.447" v="1955" actId="2696"/>
        <pc:sldMkLst>
          <pc:docMk/>
          <pc:sldMk cId="1984792466" sldId="565"/>
        </pc:sldMkLst>
      </pc:sldChg>
      <pc:sldChg chg="add del">
        <pc:chgData name="Peter Eichenberger" userId="728f4d23-4a61-4401-9315-f0ce5ffabd34" providerId="ADAL" clId="{A295695A-2F8E-4282-8B02-6156BD1E7B75}" dt="2023-09-17T15:04:31.214" v="1958" actId="47"/>
        <pc:sldMkLst>
          <pc:docMk/>
          <pc:sldMk cId="2279923792" sldId="565"/>
        </pc:sldMkLst>
      </pc:sldChg>
      <pc:sldChg chg="del">
        <pc:chgData name="Peter Eichenberger" userId="728f4d23-4a61-4401-9315-f0ce5ffabd34" providerId="ADAL" clId="{A295695A-2F8E-4282-8B02-6156BD1E7B75}" dt="2023-09-17T15:11:21.763" v="2001" actId="47"/>
        <pc:sldMkLst>
          <pc:docMk/>
          <pc:sldMk cId="3385342560" sldId="566"/>
        </pc:sldMkLst>
      </pc:sldChg>
      <pc:sldChg chg="del">
        <pc:chgData name="Peter Eichenberger" userId="728f4d23-4a61-4401-9315-f0ce5ffabd34" providerId="ADAL" clId="{A295695A-2F8E-4282-8B02-6156BD1E7B75}" dt="2023-09-17T14:34:15.334" v="305" actId="2696"/>
        <pc:sldMkLst>
          <pc:docMk/>
          <pc:sldMk cId="2600707036" sldId="577"/>
        </pc:sldMkLst>
      </pc:sldChg>
      <pc:sldChg chg="addSp delSp modSp add mod delAnim">
        <pc:chgData name="Peter Eichenberger" userId="728f4d23-4a61-4401-9315-f0ce5ffabd34" providerId="ADAL" clId="{A295695A-2F8E-4282-8B02-6156BD1E7B75}" dt="2023-09-17T14:50:46.165" v="788" actId="1076"/>
        <pc:sldMkLst>
          <pc:docMk/>
          <pc:sldMk cId="3429788689" sldId="577"/>
        </pc:sldMkLst>
        <pc:spChg chg="mod ord">
          <ac:chgData name="Peter Eichenberger" userId="728f4d23-4a61-4401-9315-f0ce5ffabd34" providerId="ADAL" clId="{A295695A-2F8E-4282-8B02-6156BD1E7B75}" dt="2023-09-17T14:50:18.276" v="769"/>
          <ac:spMkLst>
            <pc:docMk/>
            <pc:sldMk cId="3429788689" sldId="577"/>
            <ac:spMk id="2" creationId="{00000000-0000-0000-0000-000000000000}"/>
          </ac:spMkLst>
        </pc:spChg>
        <pc:spChg chg="mod ord">
          <ac:chgData name="Peter Eichenberger" userId="728f4d23-4a61-4401-9315-f0ce5ffabd34" providerId="ADAL" clId="{A295695A-2F8E-4282-8B02-6156BD1E7B75}" dt="2023-09-17T14:50:18.276" v="771"/>
          <ac:spMkLst>
            <pc:docMk/>
            <pc:sldMk cId="3429788689" sldId="577"/>
            <ac:spMk id="3" creationId="{00000000-0000-0000-0000-000000000000}"/>
          </ac:spMkLst>
        </pc:spChg>
        <pc:spChg chg="mod ord">
          <ac:chgData name="Peter Eichenberger" userId="728f4d23-4a61-4401-9315-f0ce5ffabd34" providerId="ADAL" clId="{A295695A-2F8E-4282-8B02-6156BD1E7B75}" dt="2023-09-17T14:50:18.277" v="773"/>
          <ac:spMkLst>
            <pc:docMk/>
            <pc:sldMk cId="3429788689" sldId="577"/>
            <ac:spMk id="4" creationId="{00000000-0000-0000-0000-000000000000}"/>
          </ac:spMkLst>
        </pc:spChg>
        <pc:spChg chg="mod ord">
          <ac:chgData name="Peter Eichenberger" userId="728f4d23-4a61-4401-9315-f0ce5ffabd34" providerId="ADAL" clId="{A295695A-2F8E-4282-8B02-6156BD1E7B75}" dt="2023-09-17T14:50:18.277" v="775"/>
          <ac:spMkLst>
            <pc:docMk/>
            <pc:sldMk cId="3429788689" sldId="577"/>
            <ac:spMk id="5" creationId="{00000000-0000-0000-0000-000000000000}"/>
          </ac:spMkLst>
        </pc:spChg>
        <pc:spChg chg="mod ord">
          <ac:chgData name="Peter Eichenberger" userId="728f4d23-4a61-4401-9315-f0ce5ffabd34" providerId="ADAL" clId="{A295695A-2F8E-4282-8B02-6156BD1E7B75}" dt="2023-09-17T14:50:18.277" v="777"/>
          <ac:spMkLst>
            <pc:docMk/>
            <pc:sldMk cId="3429788689" sldId="577"/>
            <ac:spMk id="6" creationId="{00000000-0000-0000-0000-000000000000}"/>
          </ac:spMkLst>
        </pc:spChg>
        <pc:spChg chg="del">
          <ac:chgData name="Peter Eichenberger" userId="728f4d23-4a61-4401-9315-f0ce5ffabd34" providerId="ADAL" clId="{A295695A-2F8E-4282-8B02-6156BD1E7B75}" dt="2023-09-17T14:49:27.258" v="751" actId="478"/>
          <ac:spMkLst>
            <pc:docMk/>
            <pc:sldMk cId="3429788689" sldId="577"/>
            <ac:spMk id="7" creationId="{00000000-0000-0000-0000-000000000000}"/>
          </ac:spMkLst>
        </pc:spChg>
        <pc:spChg chg="add del mod modVis">
          <ac:chgData name="Peter Eichenberger" userId="728f4d23-4a61-4401-9315-f0ce5ffabd34" providerId="ADAL" clId="{A295695A-2F8E-4282-8B02-6156BD1E7B75}" dt="2023-09-17T14:49:10.365" v="735"/>
          <ac:spMkLst>
            <pc:docMk/>
            <pc:sldMk cId="3429788689" sldId="577"/>
            <ac:spMk id="8" creationId="{AD423043-94DD-31F3-DEFA-88E72A25812B}"/>
          </ac:spMkLst>
        </pc:spChg>
        <pc:spChg chg="mod ord">
          <ac:chgData name="Peter Eichenberger" userId="728f4d23-4a61-4401-9315-f0ce5ffabd34" providerId="ADAL" clId="{A295695A-2F8E-4282-8B02-6156BD1E7B75}" dt="2023-09-17T14:50:30.204" v="787" actId="1076"/>
          <ac:spMkLst>
            <pc:docMk/>
            <pc:sldMk cId="3429788689" sldId="577"/>
            <ac:spMk id="11" creationId="{00000000-0000-0000-0000-000000000000}"/>
          </ac:spMkLst>
        </pc:spChg>
        <pc:spChg chg="add mod ord">
          <ac:chgData name="Peter Eichenberger" userId="728f4d23-4a61-4401-9315-f0ce5ffabd34" providerId="ADAL" clId="{A295695A-2F8E-4282-8B02-6156BD1E7B75}" dt="2023-09-17T14:50:18.276" v="767"/>
          <ac:spMkLst>
            <pc:docMk/>
            <pc:sldMk cId="3429788689" sldId="577"/>
            <ac:spMk id="14" creationId="{2DB3697E-2492-A3B4-9C00-63A89589EEDE}"/>
          </ac:spMkLst>
        </pc:spChg>
        <pc:spChg chg="add del mod">
          <ac:chgData name="Peter Eichenberger" userId="728f4d23-4a61-4401-9315-f0ce5ffabd34" providerId="ADAL" clId="{A295695A-2F8E-4282-8B02-6156BD1E7B75}" dt="2023-09-17T14:49:59.842" v="759" actId="478"/>
          <ac:spMkLst>
            <pc:docMk/>
            <pc:sldMk cId="3429788689" sldId="577"/>
            <ac:spMk id="16" creationId="{1CE1BD38-5BE8-0B70-9A86-0FB3BFF90E56}"/>
          </ac:spMkLst>
        </pc:spChg>
        <pc:graphicFrameChg chg="add mod ord modVis replST">
          <ac:chgData name="Peter Eichenberger" userId="728f4d23-4a61-4401-9315-f0ce5ffabd34" providerId="ADAL" clId="{A295695A-2F8E-4282-8B02-6156BD1E7B75}" dt="2023-09-17T14:50:18.280" v="785"/>
          <ac:graphicFrameMkLst>
            <pc:docMk/>
            <pc:sldMk cId="3429788689" sldId="577"/>
            <ac:graphicFrameMk id="12" creationId="{3F2A6CC0-3A2E-F155-E2A5-5E38D548550A}"/>
          </ac:graphicFrameMkLst>
        </pc:graphicFrameChg>
        <pc:picChg chg="mod ord">
          <ac:chgData name="Peter Eichenberger" userId="728f4d23-4a61-4401-9315-f0ce5ffabd34" providerId="ADAL" clId="{A295695A-2F8E-4282-8B02-6156BD1E7B75}" dt="2023-09-17T14:50:46.165" v="788" actId="1076"/>
          <ac:picMkLst>
            <pc:docMk/>
            <pc:sldMk cId="3429788689" sldId="577"/>
            <ac:picMk id="9" creationId="{00000000-0000-0000-0000-000000000000}"/>
          </ac:picMkLst>
        </pc:picChg>
        <pc:picChg chg="del">
          <ac:chgData name="Peter Eichenberger" userId="728f4d23-4a61-4401-9315-f0ce5ffabd34" providerId="ADAL" clId="{A295695A-2F8E-4282-8B02-6156BD1E7B75}" dt="2023-09-17T14:49:55.529" v="758" actId="478"/>
          <ac:picMkLst>
            <pc:docMk/>
            <pc:sldMk cId="3429788689" sldId="577"/>
            <ac:picMk id="10" creationId="{00000000-0000-0000-0000-000000000000}"/>
          </ac:picMkLst>
        </pc:picChg>
      </pc:sldChg>
      <pc:sldChg chg="add del">
        <pc:chgData name="Peter Eichenberger" userId="728f4d23-4a61-4401-9315-f0ce5ffabd34" providerId="ADAL" clId="{A295695A-2F8E-4282-8B02-6156BD1E7B75}" dt="2023-09-17T14:51:33.861" v="906" actId="47"/>
        <pc:sldMkLst>
          <pc:docMk/>
          <pc:sldMk cId="3944233483" sldId="578"/>
        </pc:sldMkLst>
      </pc:sldChg>
      <pc:sldChg chg="del">
        <pc:chgData name="Peter Eichenberger" userId="728f4d23-4a61-4401-9315-f0ce5ffabd34" providerId="ADAL" clId="{A295695A-2F8E-4282-8B02-6156BD1E7B75}" dt="2023-09-17T14:34:15.334" v="305" actId="2696"/>
        <pc:sldMkLst>
          <pc:docMk/>
          <pc:sldMk cId="4010265707" sldId="578"/>
        </pc:sldMkLst>
      </pc:sldChg>
      <pc:sldChg chg="addSp delSp modSp add mod">
        <pc:chgData name="Peter Eichenberger" userId="728f4d23-4a61-4401-9315-f0ce5ffabd34" providerId="ADAL" clId="{A295695A-2F8E-4282-8B02-6156BD1E7B75}" dt="2023-09-17T14:57:49.617" v="1565"/>
        <pc:sldMkLst>
          <pc:docMk/>
          <pc:sldMk cId="438278404" sldId="579"/>
        </pc:sldMkLst>
        <pc:spChg chg="mod">
          <ac:chgData name="Peter Eichenberger" userId="728f4d23-4a61-4401-9315-f0ce5ffabd34" providerId="ADAL" clId="{A295695A-2F8E-4282-8B02-6156BD1E7B75}" dt="2023-09-17T14:57:49.601" v="1538" actId="948"/>
          <ac:spMkLst>
            <pc:docMk/>
            <pc:sldMk cId="438278404" sldId="579"/>
            <ac:spMk id="5" creationId="{00000000-0000-0000-0000-000000000000}"/>
          </ac:spMkLst>
        </pc:spChg>
        <pc:spChg chg="add del mod modVis">
          <ac:chgData name="Peter Eichenberger" userId="728f4d23-4a61-4401-9315-f0ce5ffabd34" providerId="ADAL" clId="{A295695A-2F8E-4282-8B02-6156BD1E7B75}" dt="2023-09-17T14:57:45.323" v="1474"/>
          <ac:spMkLst>
            <pc:docMk/>
            <pc:sldMk cId="438278404" sldId="579"/>
            <ac:spMk id="8" creationId="{1B4E532E-3E47-A76A-FB90-C8EA972613BF}"/>
          </ac:spMkLst>
        </pc:spChg>
        <pc:spChg chg="add del mod modVis">
          <ac:chgData name="Peter Eichenberger" userId="728f4d23-4a61-4401-9315-f0ce5ffabd34" providerId="ADAL" clId="{A295695A-2F8E-4282-8B02-6156BD1E7B75}" dt="2023-09-17T14:57:47.836" v="1526"/>
          <ac:spMkLst>
            <pc:docMk/>
            <pc:sldMk cId="438278404" sldId="579"/>
            <ac:spMk id="10" creationId="{EDF79DD4-4106-C0B5-E200-108051E3B51F}"/>
          </ac:spMkLst>
        </pc:spChg>
        <pc:spChg chg="add del mod modVis">
          <ac:chgData name="Peter Eichenberger" userId="728f4d23-4a61-4401-9315-f0ce5ffabd34" providerId="ADAL" clId="{A295695A-2F8E-4282-8B02-6156BD1E7B75}" dt="2023-09-17T14:57:49.615" v="1563"/>
          <ac:spMkLst>
            <pc:docMk/>
            <pc:sldMk cId="438278404" sldId="579"/>
            <ac:spMk id="11" creationId="{DF5B576B-5045-5BBE-7E76-F348262B62C4}"/>
          </ac:spMkLst>
        </pc:spChg>
        <pc:graphicFrameChg chg="add mod ord modVis replST">
          <ac:chgData name="Peter Eichenberger" userId="728f4d23-4a61-4401-9315-f0ce5ffabd34" providerId="ADAL" clId="{A295695A-2F8E-4282-8B02-6156BD1E7B75}" dt="2023-09-17T14:57:49.617" v="1565"/>
          <ac:graphicFrameMkLst>
            <pc:docMk/>
            <pc:sldMk cId="438278404" sldId="579"/>
            <ac:graphicFrameMk id="9" creationId="{19A3BC67-2FB3-9CF9-B84F-8721811DEB8B}"/>
          </ac:graphicFrameMkLst>
        </pc:graphicFrameChg>
      </pc:sldChg>
      <pc:sldChg chg="del">
        <pc:chgData name="Peter Eichenberger" userId="728f4d23-4a61-4401-9315-f0ce5ffabd34" providerId="ADAL" clId="{A295695A-2F8E-4282-8B02-6156BD1E7B75}" dt="2023-09-17T14:34:15.334" v="305" actId="2696"/>
        <pc:sldMkLst>
          <pc:docMk/>
          <pc:sldMk cId="1210674658" sldId="579"/>
        </pc:sldMkLst>
      </pc:sldChg>
      <pc:sldChg chg="add del">
        <pc:chgData name="Peter Eichenberger" userId="728f4d23-4a61-4401-9315-f0ce5ffabd34" providerId="ADAL" clId="{A295695A-2F8E-4282-8B02-6156BD1E7B75}" dt="2023-09-17T14:52:00.060" v="907" actId="47"/>
        <pc:sldMkLst>
          <pc:docMk/>
          <pc:sldMk cId="762942767" sldId="580"/>
        </pc:sldMkLst>
      </pc:sldChg>
      <pc:sldChg chg="del">
        <pc:chgData name="Peter Eichenberger" userId="728f4d23-4a61-4401-9315-f0ce5ffabd34" providerId="ADAL" clId="{A295695A-2F8E-4282-8B02-6156BD1E7B75}" dt="2023-09-17T14:34:15.334" v="305" actId="2696"/>
        <pc:sldMkLst>
          <pc:docMk/>
          <pc:sldMk cId="2255113510" sldId="580"/>
        </pc:sldMkLst>
      </pc:sldChg>
      <pc:sldChg chg="addSp delSp modSp add mod">
        <pc:chgData name="Peter Eichenberger" userId="728f4d23-4a61-4401-9315-f0ce5ffabd34" providerId="ADAL" clId="{A295695A-2F8E-4282-8B02-6156BD1E7B75}" dt="2023-09-17T14:55:40.890" v="1440" actId="1076"/>
        <pc:sldMkLst>
          <pc:docMk/>
          <pc:sldMk cId="297981378" sldId="582"/>
        </pc:sldMkLst>
        <pc:spChg chg="mod">
          <ac:chgData name="Peter Eichenberger" userId="728f4d23-4a61-4401-9315-f0ce5ffabd34" providerId="ADAL" clId="{A295695A-2F8E-4282-8B02-6156BD1E7B75}" dt="2023-09-17T14:54:19.704" v="1372" actId="948"/>
          <ac:spMkLst>
            <pc:docMk/>
            <pc:sldMk cId="297981378" sldId="582"/>
            <ac:spMk id="4" creationId="{00000000-0000-0000-0000-000000000000}"/>
          </ac:spMkLst>
        </pc:spChg>
        <pc:spChg chg="mod">
          <ac:chgData name="Peter Eichenberger" userId="728f4d23-4a61-4401-9315-f0ce5ffabd34" providerId="ADAL" clId="{A295695A-2F8E-4282-8B02-6156BD1E7B75}" dt="2023-09-17T14:55:40.890" v="1440" actId="1076"/>
          <ac:spMkLst>
            <pc:docMk/>
            <pc:sldMk cId="297981378" sldId="582"/>
            <ac:spMk id="5" creationId="{00000000-0000-0000-0000-000000000000}"/>
          </ac:spMkLst>
        </pc:spChg>
        <pc:spChg chg="add del mod modVis">
          <ac:chgData name="Peter Eichenberger" userId="728f4d23-4a61-4401-9315-f0ce5ffabd34" providerId="ADAL" clId="{A295695A-2F8E-4282-8B02-6156BD1E7B75}" dt="2023-09-17T14:54:03.117" v="1112"/>
          <ac:spMkLst>
            <pc:docMk/>
            <pc:sldMk cId="297981378" sldId="582"/>
            <ac:spMk id="9" creationId="{3F37CD4B-BA5A-AA94-E24E-1C19F8C73250}"/>
          </ac:spMkLst>
        </pc:spChg>
        <pc:spChg chg="add del mod modVis">
          <ac:chgData name="Peter Eichenberger" userId="728f4d23-4a61-4401-9315-f0ce5ffabd34" providerId="ADAL" clId="{A295695A-2F8E-4282-8B02-6156BD1E7B75}" dt="2023-09-17T14:54:04.474" v="1158"/>
          <ac:spMkLst>
            <pc:docMk/>
            <pc:sldMk cId="297981378" sldId="582"/>
            <ac:spMk id="11" creationId="{2B7E95BB-8D16-D1A5-304C-DBBC6AC3183F}"/>
          </ac:spMkLst>
        </pc:spChg>
        <pc:spChg chg="add del mod modVis">
          <ac:chgData name="Peter Eichenberger" userId="728f4d23-4a61-4401-9315-f0ce5ffabd34" providerId="ADAL" clId="{A295695A-2F8E-4282-8B02-6156BD1E7B75}" dt="2023-09-17T14:54:06.124" v="1187"/>
          <ac:spMkLst>
            <pc:docMk/>
            <pc:sldMk cId="297981378" sldId="582"/>
            <ac:spMk id="12" creationId="{686360D2-96F0-6165-5E50-E15B9B99E646}"/>
          </ac:spMkLst>
        </pc:spChg>
        <pc:spChg chg="add del mod modVis">
          <ac:chgData name="Peter Eichenberger" userId="728f4d23-4a61-4401-9315-f0ce5ffabd34" providerId="ADAL" clId="{A295695A-2F8E-4282-8B02-6156BD1E7B75}" dt="2023-09-17T14:54:09.738" v="1229"/>
          <ac:spMkLst>
            <pc:docMk/>
            <pc:sldMk cId="297981378" sldId="582"/>
            <ac:spMk id="13" creationId="{AD90143E-7005-A2F0-E3B1-C26EEBC3E058}"/>
          </ac:spMkLst>
        </pc:spChg>
        <pc:spChg chg="add del mod modVis">
          <ac:chgData name="Peter Eichenberger" userId="728f4d23-4a61-4401-9315-f0ce5ffabd34" providerId="ADAL" clId="{A295695A-2F8E-4282-8B02-6156BD1E7B75}" dt="2023-09-17T14:54:11.086" v="1264"/>
          <ac:spMkLst>
            <pc:docMk/>
            <pc:sldMk cId="297981378" sldId="582"/>
            <ac:spMk id="14" creationId="{2B5DA7F2-7076-6199-C645-ABC863295105}"/>
          </ac:spMkLst>
        </pc:spChg>
        <pc:spChg chg="add del mod modVis">
          <ac:chgData name="Peter Eichenberger" userId="728f4d23-4a61-4401-9315-f0ce5ffabd34" providerId="ADAL" clId="{A295695A-2F8E-4282-8B02-6156BD1E7B75}" dt="2023-09-17T14:54:15.102" v="1308"/>
          <ac:spMkLst>
            <pc:docMk/>
            <pc:sldMk cId="297981378" sldId="582"/>
            <ac:spMk id="15" creationId="{E0E60866-8C6D-F3D0-A405-0F012EA84ECA}"/>
          </ac:spMkLst>
        </pc:spChg>
        <pc:spChg chg="add del mod modVis">
          <ac:chgData name="Peter Eichenberger" userId="728f4d23-4a61-4401-9315-f0ce5ffabd34" providerId="ADAL" clId="{A295695A-2F8E-4282-8B02-6156BD1E7B75}" dt="2023-09-17T14:54:17.475" v="1368"/>
          <ac:spMkLst>
            <pc:docMk/>
            <pc:sldMk cId="297981378" sldId="582"/>
            <ac:spMk id="16" creationId="{AFB69314-27DE-ED59-874C-7A3311DA23B4}"/>
          </ac:spMkLst>
        </pc:spChg>
        <pc:spChg chg="add del mod modVis">
          <ac:chgData name="Peter Eichenberger" userId="728f4d23-4a61-4401-9315-f0ce5ffabd34" providerId="ADAL" clId="{A295695A-2F8E-4282-8B02-6156BD1E7B75}" dt="2023-09-17T14:54:19.718" v="1397"/>
          <ac:spMkLst>
            <pc:docMk/>
            <pc:sldMk cId="297981378" sldId="582"/>
            <ac:spMk id="17" creationId="{6CB93D99-6C57-913A-1A61-5DEAC46997A8}"/>
          </ac:spMkLst>
        </pc:spChg>
        <pc:graphicFrameChg chg="add mod ord modVis replST">
          <ac:chgData name="Peter Eichenberger" userId="728f4d23-4a61-4401-9315-f0ce5ffabd34" providerId="ADAL" clId="{A295695A-2F8E-4282-8B02-6156BD1E7B75}" dt="2023-09-17T14:54:19.719" v="1399"/>
          <ac:graphicFrameMkLst>
            <pc:docMk/>
            <pc:sldMk cId="297981378" sldId="582"/>
            <ac:graphicFrameMk id="10" creationId="{42617858-6A60-8D03-5776-6196CBAAA093}"/>
          </ac:graphicFrameMkLst>
        </pc:graphicFrameChg>
        <pc:picChg chg="mod">
          <ac:chgData name="Peter Eichenberger" userId="728f4d23-4a61-4401-9315-f0ce5ffabd34" providerId="ADAL" clId="{A295695A-2F8E-4282-8B02-6156BD1E7B75}" dt="2023-09-17T14:54:27.481" v="1400" actId="1076"/>
          <ac:picMkLst>
            <pc:docMk/>
            <pc:sldMk cId="297981378" sldId="582"/>
            <ac:picMk id="7" creationId="{00000000-0000-0000-0000-000000000000}"/>
          </ac:picMkLst>
        </pc:picChg>
      </pc:sldChg>
      <pc:sldChg chg="del">
        <pc:chgData name="Peter Eichenberger" userId="728f4d23-4a61-4401-9315-f0ce5ffabd34" providerId="ADAL" clId="{A295695A-2F8E-4282-8B02-6156BD1E7B75}" dt="2023-09-17T14:34:15.334" v="305" actId="2696"/>
        <pc:sldMkLst>
          <pc:docMk/>
          <pc:sldMk cId="1651979236" sldId="582"/>
        </pc:sldMkLst>
      </pc:sldChg>
      <pc:sldChg chg="add">
        <pc:chgData name="Peter Eichenberger" userId="728f4d23-4a61-4401-9315-f0ce5ffabd34" providerId="ADAL" clId="{A295695A-2F8E-4282-8B02-6156BD1E7B75}" dt="2023-09-17T14:34:22.691" v="306"/>
        <pc:sldMkLst>
          <pc:docMk/>
          <pc:sldMk cId="1238831971" sldId="583"/>
        </pc:sldMkLst>
      </pc:sldChg>
      <pc:sldChg chg="del">
        <pc:chgData name="Peter Eichenberger" userId="728f4d23-4a61-4401-9315-f0ce5ffabd34" providerId="ADAL" clId="{A295695A-2F8E-4282-8B02-6156BD1E7B75}" dt="2023-09-17T14:34:15.334" v="305" actId="2696"/>
        <pc:sldMkLst>
          <pc:docMk/>
          <pc:sldMk cId="3106155312" sldId="583"/>
        </pc:sldMkLst>
      </pc:sldChg>
      <pc:sldChg chg="add del">
        <pc:chgData name="Peter Eichenberger" userId="728f4d23-4a61-4401-9315-f0ce5ffabd34" providerId="ADAL" clId="{A295695A-2F8E-4282-8B02-6156BD1E7B75}" dt="2023-09-17T14:58:15.788" v="1566" actId="47"/>
        <pc:sldMkLst>
          <pc:docMk/>
          <pc:sldMk cId="2810688856" sldId="584"/>
        </pc:sldMkLst>
      </pc:sldChg>
      <pc:sldChg chg="del">
        <pc:chgData name="Peter Eichenberger" userId="728f4d23-4a61-4401-9315-f0ce5ffabd34" providerId="ADAL" clId="{A295695A-2F8E-4282-8B02-6156BD1E7B75}" dt="2023-09-17T14:34:15.334" v="305" actId="2696"/>
        <pc:sldMkLst>
          <pc:docMk/>
          <pc:sldMk cId="3321027980" sldId="584"/>
        </pc:sldMkLst>
      </pc:sldChg>
      <pc:sldChg chg="del">
        <pc:chgData name="Peter Eichenberger" userId="728f4d23-4a61-4401-9315-f0ce5ffabd34" providerId="ADAL" clId="{A295695A-2F8E-4282-8B02-6156BD1E7B75}" dt="2023-09-17T14:34:15.334" v="305" actId="2696"/>
        <pc:sldMkLst>
          <pc:docMk/>
          <pc:sldMk cId="1555130594" sldId="585"/>
        </pc:sldMkLst>
      </pc:sldChg>
      <pc:sldChg chg="add">
        <pc:chgData name="Peter Eichenberger" userId="728f4d23-4a61-4401-9315-f0ce5ffabd34" providerId="ADAL" clId="{A295695A-2F8E-4282-8B02-6156BD1E7B75}" dt="2023-09-17T14:34:22.691" v="306"/>
        <pc:sldMkLst>
          <pc:docMk/>
          <pc:sldMk cId="3376355359" sldId="585"/>
        </pc:sldMkLst>
      </pc:sldChg>
      <pc:sldChg chg="add">
        <pc:chgData name="Peter Eichenberger" userId="728f4d23-4a61-4401-9315-f0ce5ffabd34" providerId="ADAL" clId="{A295695A-2F8E-4282-8B02-6156BD1E7B75}" dt="2023-09-17T14:34:22.691" v="306"/>
        <pc:sldMkLst>
          <pc:docMk/>
          <pc:sldMk cId="377007463" sldId="586"/>
        </pc:sldMkLst>
      </pc:sldChg>
      <pc:sldChg chg="del">
        <pc:chgData name="Peter Eichenberger" userId="728f4d23-4a61-4401-9315-f0ce5ffabd34" providerId="ADAL" clId="{A295695A-2F8E-4282-8B02-6156BD1E7B75}" dt="2023-09-17T14:34:15.334" v="305" actId="2696"/>
        <pc:sldMkLst>
          <pc:docMk/>
          <pc:sldMk cId="3124400708" sldId="586"/>
        </pc:sldMkLst>
      </pc:sldChg>
      <pc:sldChg chg="del">
        <pc:chgData name="Peter Eichenberger" userId="728f4d23-4a61-4401-9315-f0ce5ffabd34" providerId="ADAL" clId="{A295695A-2F8E-4282-8B02-6156BD1E7B75}" dt="2023-09-17T14:34:15.334" v="305" actId="2696"/>
        <pc:sldMkLst>
          <pc:docMk/>
          <pc:sldMk cId="437390342" sldId="587"/>
        </pc:sldMkLst>
      </pc:sldChg>
      <pc:sldChg chg="addSp delSp modSp add mod">
        <pc:chgData name="Peter Eichenberger" userId="728f4d23-4a61-4401-9315-f0ce5ffabd34" providerId="ADAL" clId="{A295695A-2F8E-4282-8B02-6156BD1E7B75}" dt="2023-09-17T15:01:04.322" v="1909" actId="20577"/>
        <pc:sldMkLst>
          <pc:docMk/>
          <pc:sldMk cId="526961079" sldId="587"/>
        </pc:sldMkLst>
        <pc:spChg chg="mod">
          <ac:chgData name="Peter Eichenberger" userId="728f4d23-4a61-4401-9315-f0ce5ffabd34" providerId="ADAL" clId="{A295695A-2F8E-4282-8B02-6156BD1E7B75}" dt="2023-09-17T15:00:29.931" v="1870" actId="948"/>
          <ac:spMkLst>
            <pc:docMk/>
            <pc:sldMk cId="526961079" sldId="587"/>
            <ac:spMk id="5" creationId="{00000000-0000-0000-0000-000000000000}"/>
          </ac:spMkLst>
        </pc:spChg>
        <pc:spChg chg="add del mod modVis">
          <ac:chgData name="Peter Eichenberger" userId="728f4d23-4a61-4401-9315-f0ce5ffabd34" providerId="ADAL" clId="{A295695A-2F8E-4282-8B02-6156BD1E7B75}" dt="2023-09-17T15:00:04.869" v="1605"/>
          <ac:spMkLst>
            <pc:docMk/>
            <pc:sldMk cId="526961079" sldId="587"/>
            <ac:spMk id="6" creationId="{41959A13-01DA-968A-D5CD-7D6344EB918C}"/>
          </ac:spMkLst>
        </pc:spChg>
        <pc:spChg chg="mod">
          <ac:chgData name="Peter Eichenberger" userId="728f4d23-4a61-4401-9315-f0ce5ffabd34" providerId="ADAL" clId="{A295695A-2F8E-4282-8B02-6156BD1E7B75}" dt="2023-09-17T15:01:04.322" v="1909" actId="20577"/>
          <ac:spMkLst>
            <pc:docMk/>
            <pc:sldMk cId="526961079" sldId="587"/>
            <ac:spMk id="9" creationId="{00000000-0000-0000-0000-000000000000}"/>
          </ac:spMkLst>
        </pc:spChg>
        <pc:spChg chg="add del mod modVis">
          <ac:chgData name="Peter Eichenberger" userId="728f4d23-4a61-4401-9315-f0ce5ffabd34" providerId="ADAL" clId="{A295695A-2F8E-4282-8B02-6156BD1E7B75}" dt="2023-09-17T15:00:09.621" v="1667"/>
          <ac:spMkLst>
            <pc:docMk/>
            <pc:sldMk cId="526961079" sldId="587"/>
            <ac:spMk id="12" creationId="{837F5A91-2EDD-EFB1-7AB1-56C66C85E668}"/>
          </ac:spMkLst>
        </pc:spChg>
        <pc:spChg chg="add del mod modVis">
          <ac:chgData name="Peter Eichenberger" userId="728f4d23-4a61-4401-9315-f0ce5ffabd34" providerId="ADAL" clId="{A295695A-2F8E-4282-8B02-6156BD1E7B75}" dt="2023-09-17T15:00:11.696" v="1704"/>
          <ac:spMkLst>
            <pc:docMk/>
            <pc:sldMk cId="526961079" sldId="587"/>
            <ac:spMk id="13" creationId="{B8907C7E-BAFE-B864-20E4-02D695D91CB5}"/>
          </ac:spMkLst>
        </pc:spChg>
        <pc:spChg chg="add del mod modVis">
          <ac:chgData name="Peter Eichenberger" userId="728f4d23-4a61-4401-9315-f0ce5ffabd34" providerId="ADAL" clId="{A295695A-2F8E-4282-8B02-6156BD1E7B75}" dt="2023-09-17T15:00:15.670" v="1734"/>
          <ac:spMkLst>
            <pc:docMk/>
            <pc:sldMk cId="526961079" sldId="587"/>
            <ac:spMk id="14" creationId="{9256C91E-D90E-48D4-13C3-A3BB0A7B8772}"/>
          </ac:spMkLst>
        </pc:spChg>
        <pc:spChg chg="add del mod modVis">
          <ac:chgData name="Peter Eichenberger" userId="728f4d23-4a61-4401-9315-f0ce5ffabd34" providerId="ADAL" clId="{A295695A-2F8E-4282-8B02-6156BD1E7B75}" dt="2023-09-17T15:00:21.477" v="1777"/>
          <ac:spMkLst>
            <pc:docMk/>
            <pc:sldMk cId="526961079" sldId="587"/>
            <ac:spMk id="15" creationId="{A3D33985-8B39-6735-F86C-31E32F159F00}"/>
          </ac:spMkLst>
        </pc:spChg>
        <pc:spChg chg="add del mod modVis">
          <ac:chgData name="Peter Eichenberger" userId="728f4d23-4a61-4401-9315-f0ce5ffabd34" providerId="ADAL" clId="{A295695A-2F8E-4282-8B02-6156BD1E7B75}" dt="2023-09-17T15:00:21.741" v="1807"/>
          <ac:spMkLst>
            <pc:docMk/>
            <pc:sldMk cId="526961079" sldId="587"/>
            <ac:spMk id="16" creationId="{0E980403-2BA9-55C1-9FA5-9C04DC944459}"/>
          </ac:spMkLst>
        </pc:spChg>
        <pc:spChg chg="add del mod modVis">
          <ac:chgData name="Peter Eichenberger" userId="728f4d23-4a61-4401-9315-f0ce5ffabd34" providerId="ADAL" clId="{A295695A-2F8E-4282-8B02-6156BD1E7B75}" dt="2023-09-17T15:00:22.528" v="1837"/>
          <ac:spMkLst>
            <pc:docMk/>
            <pc:sldMk cId="526961079" sldId="587"/>
            <ac:spMk id="17" creationId="{224D1ED6-0E5A-8D51-9867-08D909B2516A}"/>
          </ac:spMkLst>
        </pc:spChg>
        <pc:spChg chg="add del mod modVis">
          <ac:chgData name="Peter Eichenberger" userId="728f4d23-4a61-4401-9315-f0ce5ffabd34" providerId="ADAL" clId="{A295695A-2F8E-4282-8B02-6156BD1E7B75}" dt="2023-09-17T15:00:29.405" v="1866"/>
          <ac:spMkLst>
            <pc:docMk/>
            <pc:sldMk cId="526961079" sldId="587"/>
            <ac:spMk id="18" creationId="{7581BAAF-B815-F48A-C7A0-F0015CEDB585}"/>
          </ac:spMkLst>
        </pc:spChg>
        <pc:spChg chg="add del mod modVis">
          <ac:chgData name="Peter Eichenberger" userId="728f4d23-4a61-4401-9315-f0ce5ffabd34" providerId="ADAL" clId="{A295695A-2F8E-4282-8B02-6156BD1E7B75}" dt="2023-09-17T15:00:29.948" v="1895"/>
          <ac:spMkLst>
            <pc:docMk/>
            <pc:sldMk cId="526961079" sldId="587"/>
            <ac:spMk id="19" creationId="{DD36BE45-0ECB-0492-A963-0A3E5BD54B9D}"/>
          </ac:spMkLst>
        </pc:spChg>
        <pc:graphicFrameChg chg="add mod ord modVis replST">
          <ac:chgData name="Peter Eichenberger" userId="728f4d23-4a61-4401-9315-f0ce5ffabd34" providerId="ADAL" clId="{A295695A-2F8E-4282-8B02-6156BD1E7B75}" dt="2023-09-17T15:00:29.949" v="1897"/>
          <ac:graphicFrameMkLst>
            <pc:docMk/>
            <pc:sldMk cId="526961079" sldId="587"/>
            <ac:graphicFrameMk id="11" creationId="{E86A2A41-3A4B-809D-3F0A-E7B1B096B227}"/>
          </ac:graphicFrameMkLst>
        </pc:graphicFrameChg>
      </pc:sldChg>
      <pc:sldChg chg="del">
        <pc:chgData name="Peter Eichenberger" userId="728f4d23-4a61-4401-9315-f0ce5ffabd34" providerId="ADAL" clId="{A295695A-2F8E-4282-8B02-6156BD1E7B75}" dt="2023-09-17T14:34:15.334" v="305" actId="2696"/>
        <pc:sldMkLst>
          <pc:docMk/>
          <pc:sldMk cId="4112181759" sldId="588"/>
        </pc:sldMkLst>
      </pc:sldChg>
      <pc:sldChg chg="add del">
        <pc:chgData name="Peter Eichenberger" userId="728f4d23-4a61-4401-9315-f0ce5ffabd34" providerId="ADAL" clId="{A295695A-2F8E-4282-8B02-6156BD1E7B75}" dt="2023-09-17T15:06:29.838" v="1964" actId="47"/>
        <pc:sldMkLst>
          <pc:docMk/>
          <pc:sldMk cId="4265478303" sldId="588"/>
        </pc:sldMkLst>
      </pc:sldChg>
      <pc:sldChg chg="del">
        <pc:chgData name="Peter Eichenberger" userId="728f4d23-4a61-4401-9315-f0ce5ffabd34" providerId="ADAL" clId="{A295695A-2F8E-4282-8B02-6156BD1E7B75}" dt="2023-09-17T14:34:15.334" v="305" actId="2696"/>
        <pc:sldMkLst>
          <pc:docMk/>
          <pc:sldMk cId="3595387882" sldId="589"/>
        </pc:sldMkLst>
      </pc:sldChg>
      <pc:sldChg chg="add del">
        <pc:chgData name="Peter Eichenberger" userId="728f4d23-4a61-4401-9315-f0ce5ffabd34" providerId="ADAL" clId="{A295695A-2F8E-4282-8B02-6156BD1E7B75}" dt="2023-09-17T14:58:44.300" v="1567" actId="47"/>
        <pc:sldMkLst>
          <pc:docMk/>
          <pc:sldMk cId="3992414526" sldId="589"/>
        </pc:sldMkLst>
      </pc:sldChg>
      <pc:sldChg chg="del">
        <pc:chgData name="Peter Eichenberger" userId="728f4d23-4a61-4401-9315-f0ce5ffabd34" providerId="ADAL" clId="{A295695A-2F8E-4282-8B02-6156BD1E7B75}" dt="2023-09-17T14:34:15.334" v="305" actId="2696"/>
        <pc:sldMkLst>
          <pc:docMk/>
          <pc:sldMk cId="921586013" sldId="590"/>
        </pc:sldMkLst>
      </pc:sldChg>
      <pc:sldChg chg="add">
        <pc:chgData name="Peter Eichenberger" userId="728f4d23-4a61-4401-9315-f0ce5ffabd34" providerId="ADAL" clId="{A295695A-2F8E-4282-8B02-6156BD1E7B75}" dt="2023-09-17T14:34:22.691" v="306"/>
        <pc:sldMkLst>
          <pc:docMk/>
          <pc:sldMk cId="1531217916" sldId="590"/>
        </pc:sldMkLst>
      </pc:sldChg>
      <pc:sldChg chg="del">
        <pc:chgData name="Peter Eichenberger" userId="728f4d23-4a61-4401-9315-f0ce5ffabd34" providerId="ADAL" clId="{A295695A-2F8E-4282-8B02-6156BD1E7B75}" dt="2023-09-17T14:34:15.334" v="305" actId="2696"/>
        <pc:sldMkLst>
          <pc:docMk/>
          <pc:sldMk cId="559385704" sldId="591"/>
        </pc:sldMkLst>
      </pc:sldChg>
      <pc:sldChg chg="add del">
        <pc:chgData name="Peter Eichenberger" userId="728f4d23-4a61-4401-9315-f0ce5ffabd34" providerId="ADAL" clId="{A295695A-2F8E-4282-8B02-6156BD1E7B75}" dt="2023-09-17T14:58:59.750" v="1568" actId="47"/>
        <pc:sldMkLst>
          <pc:docMk/>
          <pc:sldMk cId="2653638765" sldId="591"/>
        </pc:sldMkLst>
      </pc:sldChg>
      <pc:sldChg chg="add">
        <pc:chgData name="Peter Eichenberger" userId="728f4d23-4a61-4401-9315-f0ce5ffabd34" providerId="ADAL" clId="{A295695A-2F8E-4282-8B02-6156BD1E7B75}" dt="2023-09-17T17:45:43.785" v="3129"/>
        <pc:sldMkLst>
          <pc:docMk/>
          <pc:sldMk cId="1255151347" sldId="595"/>
        </pc:sldMkLst>
      </pc:sldChg>
      <pc:sldChg chg="del">
        <pc:chgData name="Peter Eichenberger" userId="728f4d23-4a61-4401-9315-f0ce5ffabd34" providerId="ADAL" clId="{A295695A-2F8E-4282-8B02-6156BD1E7B75}" dt="2023-09-17T17:45:37.343" v="3128" actId="2696"/>
        <pc:sldMkLst>
          <pc:docMk/>
          <pc:sldMk cId="1744801035" sldId="595"/>
        </pc:sldMkLst>
      </pc:sldChg>
      <pc:sldChg chg="del">
        <pc:chgData name="Peter Eichenberger" userId="728f4d23-4a61-4401-9315-f0ce5ffabd34" providerId="ADAL" clId="{A295695A-2F8E-4282-8B02-6156BD1E7B75}" dt="2023-09-17T17:45:37.343" v="3128" actId="2696"/>
        <pc:sldMkLst>
          <pc:docMk/>
          <pc:sldMk cId="455135106" sldId="596"/>
        </pc:sldMkLst>
      </pc:sldChg>
      <pc:sldChg chg="add">
        <pc:chgData name="Peter Eichenberger" userId="728f4d23-4a61-4401-9315-f0ce5ffabd34" providerId="ADAL" clId="{A295695A-2F8E-4282-8B02-6156BD1E7B75}" dt="2023-09-17T17:45:43.785" v="3129"/>
        <pc:sldMkLst>
          <pc:docMk/>
          <pc:sldMk cId="1375829301" sldId="596"/>
        </pc:sldMkLst>
      </pc:sldChg>
      <pc:sldChg chg="add del">
        <pc:chgData name="Peter Eichenberger" userId="728f4d23-4a61-4401-9315-f0ce5ffabd34" providerId="ADAL" clId="{A295695A-2F8E-4282-8B02-6156BD1E7B75}" dt="2023-09-17T15:05:21.988" v="1960" actId="47"/>
        <pc:sldMkLst>
          <pc:docMk/>
          <pc:sldMk cId="1193650371" sldId="598"/>
        </pc:sldMkLst>
      </pc:sldChg>
      <pc:sldChg chg="del">
        <pc:chgData name="Peter Eichenberger" userId="728f4d23-4a61-4401-9315-f0ce5ffabd34" providerId="ADAL" clId="{A295695A-2F8E-4282-8B02-6156BD1E7B75}" dt="2023-09-17T14:34:15.334" v="305" actId="2696"/>
        <pc:sldMkLst>
          <pc:docMk/>
          <pc:sldMk cId="2046922376" sldId="598"/>
        </pc:sldMkLst>
      </pc:sldChg>
      <pc:sldChg chg="del">
        <pc:chgData name="Peter Eichenberger" userId="728f4d23-4a61-4401-9315-f0ce5ffabd34" providerId="ADAL" clId="{A295695A-2F8E-4282-8B02-6156BD1E7B75}" dt="2023-09-17T14:34:15.334" v="305" actId="2696"/>
        <pc:sldMkLst>
          <pc:docMk/>
          <pc:sldMk cId="867464885" sldId="599"/>
        </pc:sldMkLst>
      </pc:sldChg>
      <pc:sldChg chg="add del">
        <pc:chgData name="Peter Eichenberger" userId="728f4d23-4a61-4401-9315-f0ce5ffabd34" providerId="ADAL" clId="{A295695A-2F8E-4282-8B02-6156BD1E7B75}" dt="2023-09-17T15:05:24.745" v="1961" actId="47"/>
        <pc:sldMkLst>
          <pc:docMk/>
          <pc:sldMk cId="2023183840" sldId="599"/>
        </pc:sldMkLst>
      </pc:sldChg>
      <pc:sldChg chg="add del">
        <pc:chgData name="Peter Eichenberger" userId="728f4d23-4a61-4401-9315-f0ce5ffabd34" providerId="ADAL" clId="{A295695A-2F8E-4282-8B02-6156BD1E7B75}" dt="2023-09-17T14:49:05.241" v="706" actId="47"/>
        <pc:sldMkLst>
          <pc:docMk/>
          <pc:sldMk cId="3329700251" sldId="600"/>
        </pc:sldMkLst>
      </pc:sldChg>
      <pc:sldChg chg="del">
        <pc:chgData name="Peter Eichenberger" userId="728f4d23-4a61-4401-9315-f0ce5ffabd34" providerId="ADAL" clId="{A295695A-2F8E-4282-8B02-6156BD1E7B75}" dt="2023-09-17T14:34:15.334" v="305" actId="2696"/>
        <pc:sldMkLst>
          <pc:docMk/>
          <pc:sldMk cId="3793422379" sldId="600"/>
        </pc:sldMkLst>
      </pc:sldChg>
      <pc:sldChg chg="modSp add mod">
        <pc:chgData name="Peter Eichenberger" userId="728f4d23-4a61-4401-9315-f0ce5ffabd34" providerId="ADAL" clId="{A295695A-2F8E-4282-8B02-6156BD1E7B75}" dt="2023-09-17T14:59:39.591" v="1574" actId="6549"/>
        <pc:sldMkLst>
          <pc:docMk/>
          <pc:sldMk cId="518047616" sldId="601"/>
        </pc:sldMkLst>
        <pc:spChg chg="mod">
          <ac:chgData name="Peter Eichenberger" userId="728f4d23-4a61-4401-9315-f0ce5ffabd34" providerId="ADAL" clId="{A295695A-2F8E-4282-8B02-6156BD1E7B75}" dt="2023-09-17T14:59:39.591" v="1574" actId="6549"/>
          <ac:spMkLst>
            <pc:docMk/>
            <pc:sldMk cId="518047616" sldId="601"/>
            <ac:spMk id="6" creationId="{00000000-0000-0000-0000-000000000000}"/>
          </ac:spMkLst>
        </pc:spChg>
      </pc:sldChg>
      <pc:sldChg chg="del">
        <pc:chgData name="Peter Eichenberger" userId="728f4d23-4a61-4401-9315-f0ce5ffabd34" providerId="ADAL" clId="{A295695A-2F8E-4282-8B02-6156BD1E7B75}" dt="2023-09-17T14:34:15.334" v="305" actId="2696"/>
        <pc:sldMkLst>
          <pc:docMk/>
          <pc:sldMk cId="568451204" sldId="601"/>
        </pc:sldMkLst>
      </pc:sldChg>
      <pc:sldChg chg="add del">
        <pc:chgData name="Peter Eichenberger" userId="728f4d23-4a61-4401-9315-f0ce5ffabd34" providerId="ADAL" clId="{A295695A-2F8E-4282-8B02-6156BD1E7B75}" dt="2023-09-17T14:59:08.155" v="1569" actId="2696"/>
        <pc:sldMkLst>
          <pc:docMk/>
          <pc:sldMk cId="1290028055" sldId="601"/>
        </pc:sldMkLst>
      </pc:sldChg>
      <pc:sldChg chg="add del">
        <pc:chgData name="Peter Eichenberger" userId="728f4d23-4a61-4401-9315-f0ce5ffabd34" providerId="ADAL" clId="{A295695A-2F8E-4282-8B02-6156BD1E7B75}" dt="2023-09-17T15:05:10.355" v="1959" actId="47"/>
        <pc:sldMkLst>
          <pc:docMk/>
          <pc:sldMk cId="834053216" sldId="602"/>
        </pc:sldMkLst>
      </pc:sldChg>
      <pc:sldChg chg="del">
        <pc:chgData name="Peter Eichenberger" userId="728f4d23-4a61-4401-9315-f0ce5ffabd34" providerId="ADAL" clId="{A295695A-2F8E-4282-8B02-6156BD1E7B75}" dt="2023-09-17T14:34:15.334" v="305" actId="2696"/>
        <pc:sldMkLst>
          <pc:docMk/>
          <pc:sldMk cId="3304405118" sldId="602"/>
        </pc:sldMkLst>
      </pc:sldChg>
      <pc:sldChg chg="add">
        <pc:chgData name="Peter Eichenberger" userId="728f4d23-4a61-4401-9315-f0ce5ffabd34" providerId="ADAL" clId="{A295695A-2F8E-4282-8B02-6156BD1E7B75}" dt="2023-09-17T14:34:22.691" v="306"/>
        <pc:sldMkLst>
          <pc:docMk/>
          <pc:sldMk cId="1125461064" sldId="603"/>
        </pc:sldMkLst>
      </pc:sldChg>
      <pc:sldChg chg="del">
        <pc:chgData name="Peter Eichenberger" userId="728f4d23-4a61-4401-9315-f0ce5ffabd34" providerId="ADAL" clId="{A295695A-2F8E-4282-8B02-6156BD1E7B75}" dt="2023-09-17T14:34:15.334" v="305" actId="2696"/>
        <pc:sldMkLst>
          <pc:docMk/>
          <pc:sldMk cId="2326892164" sldId="603"/>
        </pc:sldMkLst>
      </pc:sldChg>
      <pc:sldChg chg="add del">
        <pc:chgData name="Peter Eichenberger" userId="728f4d23-4a61-4401-9315-f0ce5ffabd34" providerId="ADAL" clId="{A295695A-2F8E-4282-8B02-6156BD1E7B75}" dt="2023-09-17T15:03:51.654" v="1954" actId="47"/>
        <pc:sldMkLst>
          <pc:docMk/>
          <pc:sldMk cId="3100021136" sldId="604"/>
        </pc:sldMkLst>
      </pc:sldChg>
      <pc:sldChg chg="del">
        <pc:chgData name="Peter Eichenberger" userId="728f4d23-4a61-4401-9315-f0ce5ffabd34" providerId="ADAL" clId="{A295695A-2F8E-4282-8B02-6156BD1E7B75}" dt="2023-09-17T14:34:15.334" v="305" actId="2696"/>
        <pc:sldMkLst>
          <pc:docMk/>
          <pc:sldMk cId="3865136024" sldId="604"/>
        </pc:sldMkLst>
      </pc:sldChg>
      <pc:sldChg chg="new add del">
        <pc:chgData name="Peter Eichenberger" userId="728f4d23-4a61-4401-9315-f0ce5ffabd34" providerId="ADAL" clId="{A295695A-2F8E-4282-8B02-6156BD1E7B75}" dt="2023-09-17T14:16:58.183" v="10" actId="680"/>
        <pc:sldMkLst>
          <pc:docMk/>
          <pc:sldMk cId="1157629873" sldId="606"/>
        </pc:sldMkLst>
      </pc:sldChg>
      <pc:sldChg chg="addSp delSp modSp new add del mod ord">
        <pc:chgData name="Peter Eichenberger" userId="728f4d23-4a61-4401-9315-f0ce5ffabd34" providerId="ADAL" clId="{A295695A-2F8E-4282-8B02-6156BD1E7B75}" dt="2023-09-17T17:45:57.427" v="3130" actId="2696"/>
        <pc:sldMkLst>
          <pc:docMk/>
          <pc:sldMk cId="3155666786" sldId="606"/>
        </pc:sldMkLst>
        <pc:spChg chg="mod">
          <ac:chgData name="Peter Eichenberger" userId="728f4d23-4a61-4401-9315-f0ce5ffabd34" providerId="ADAL" clId="{A295695A-2F8E-4282-8B02-6156BD1E7B75}" dt="2023-09-17T14:39:28.020" v="479" actId="948"/>
          <ac:spMkLst>
            <pc:docMk/>
            <pc:sldMk cId="3155666786" sldId="606"/>
            <ac:spMk id="5" creationId="{F0A65CD9-C530-9AFB-3BEA-4265C3FFE884}"/>
          </ac:spMkLst>
        </pc:spChg>
        <pc:spChg chg="mod">
          <ac:chgData name="Peter Eichenberger" userId="728f4d23-4a61-4401-9315-f0ce5ffabd34" providerId="ADAL" clId="{A295695A-2F8E-4282-8B02-6156BD1E7B75}" dt="2023-09-17T14:39:12.190" v="472" actId="20577"/>
          <ac:spMkLst>
            <pc:docMk/>
            <pc:sldMk cId="3155666786" sldId="606"/>
            <ac:spMk id="6" creationId="{CFA3D41A-B160-E0F2-6B34-9EF569CF640C}"/>
          </ac:spMkLst>
        </pc:spChg>
        <pc:spChg chg="mod">
          <ac:chgData name="Peter Eichenberger" userId="728f4d23-4a61-4401-9315-f0ce5ffabd34" providerId="ADAL" clId="{A295695A-2F8E-4282-8B02-6156BD1E7B75}" dt="2023-09-17T14:17:12.338" v="14" actId="27636"/>
          <ac:spMkLst>
            <pc:docMk/>
            <pc:sldMk cId="3155666786" sldId="606"/>
            <ac:spMk id="7" creationId="{C24957C1-DC13-1B3B-88E6-B641F6F6EA4E}"/>
          </ac:spMkLst>
        </pc:spChg>
        <pc:spChg chg="add del mod modVis">
          <ac:chgData name="Peter Eichenberger" userId="728f4d23-4a61-4401-9315-f0ce5ffabd34" providerId="ADAL" clId="{A295695A-2F8E-4282-8B02-6156BD1E7B75}" dt="2023-09-17T14:19:06.334" v="74"/>
          <ac:spMkLst>
            <pc:docMk/>
            <pc:sldMk cId="3155666786" sldId="606"/>
            <ac:spMk id="10" creationId="{066BEB3F-7140-74E4-38DC-1D3EB9F05FE7}"/>
          </ac:spMkLst>
        </pc:spChg>
        <pc:spChg chg="add del mod modVis">
          <ac:chgData name="Peter Eichenberger" userId="728f4d23-4a61-4401-9315-f0ce5ffabd34" providerId="ADAL" clId="{A295695A-2F8E-4282-8B02-6156BD1E7B75}" dt="2023-09-17T14:19:07.794" v="108"/>
          <ac:spMkLst>
            <pc:docMk/>
            <pc:sldMk cId="3155666786" sldId="606"/>
            <ac:spMk id="11" creationId="{3FCE2FA0-88AF-7415-EBF4-2165E6F6291F}"/>
          </ac:spMkLst>
        </pc:spChg>
        <pc:spChg chg="add del mod modVis">
          <ac:chgData name="Peter Eichenberger" userId="728f4d23-4a61-4401-9315-f0ce5ffabd34" providerId="ADAL" clId="{A295695A-2F8E-4282-8B02-6156BD1E7B75}" dt="2023-09-17T14:19:12.208" v="156"/>
          <ac:spMkLst>
            <pc:docMk/>
            <pc:sldMk cId="3155666786" sldId="606"/>
            <ac:spMk id="12" creationId="{8ADE402C-7C6B-8CBA-CFB2-2AAF3F647FEB}"/>
          </ac:spMkLst>
        </pc:spChg>
        <pc:spChg chg="add del mod modVis">
          <ac:chgData name="Peter Eichenberger" userId="728f4d23-4a61-4401-9315-f0ce5ffabd34" providerId="ADAL" clId="{A295695A-2F8E-4282-8B02-6156BD1E7B75}" dt="2023-09-17T14:39:28.034" v="504"/>
          <ac:spMkLst>
            <pc:docMk/>
            <pc:sldMk cId="3155666786" sldId="606"/>
            <ac:spMk id="14" creationId="{908B1C0E-C9D2-CEAA-BCB6-4AEA0499A12D}"/>
          </ac:spMkLst>
        </pc:spChg>
        <pc:graphicFrameChg chg="add mod ord modVis replST">
          <ac:chgData name="Peter Eichenberger" userId="728f4d23-4a61-4401-9315-f0ce5ffabd34" providerId="ADAL" clId="{A295695A-2F8E-4282-8B02-6156BD1E7B75}" dt="2023-09-17T14:39:28.037" v="506"/>
          <ac:graphicFrameMkLst>
            <pc:docMk/>
            <pc:sldMk cId="3155666786" sldId="606"/>
            <ac:graphicFrameMk id="9" creationId="{79E9C736-B4FA-FA18-6AC5-4A830E301591}"/>
          </ac:graphicFrameMkLst>
        </pc:graphicFrameChg>
        <pc:picChg chg="add mod modCrop">
          <ac:chgData name="Peter Eichenberger" userId="728f4d23-4a61-4401-9315-f0ce5ffabd34" providerId="ADAL" clId="{A295695A-2F8E-4282-8B02-6156BD1E7B75}" dt="2023-09-17T14:39:17.308" v="475" actId="1076"/>
          <ac:picMkLst>
            <pc:docMk/>
            <pc:sldMk cId="3155666786" sldId="606"/>
            <ac:picMk id="8" creationId="{BB5152D8-2440-CA68-B073-5E2C210D8892}"/>
          </ac:picMkLst>
        </pc:picChg>
        <pc:picChg chg="add mod">
          <ac:chgData name="Peter Eichenberger" userId="728f4d23-4a61-4401-9315-f0ce5ffabd34" providerId="ADAL" clId="{A295695A-2F8E-4282-8B02-6156BD1E7B75}" dt="2023-09-17T14:39:21.272" v="477" actId="1076"/>
          <ac:picMkLst>
            <pc:docMk/>
            <pc:sldMk cId="3155666786" sldId="606"/>
            <ac:picMk id="13" creationId="{4157EC39-8EFE-3B23-FCF6-F66DB39DB88F}"/>
          </ac:picMkLst>
        </pc:picChg>
      </pc:sldChg>
      <pc:sldChg chg="addSp delSp modSp add mod">
        <pc:chgData name="Peter Eichenberger" userId="728f4d23-4a61-4401-9315-f0ce5ffabd34" providerId="ADAL" clId="{A295695A-2F8E-4282-8B02-6156BD1E7B75}" dt="2023-09-18T10:52:36.380" v="3360" actId="1076"/>
        <pc:sldMkLst>
          <pc:docMk/>
          <pc:sldMk cId="3994551755" sldId="606"/>
        </pc:sldMkLst>
        <pc:spChg chg="mod">
          <ac:chgData name="Peter Eichenberger" userId="728f4d23-4a61-4401-9315-f0ce5ffabd34" providerId="ADAL" clId="{A295695A-2F8E-4282-8B02-6156BD1E7B75}" dt="2023-09-18T10:52:31.358" v="3330" actId="948"/>
          <ac:spMkLst>
            <pc:docMk/>
            <pc:sldMk cId="3994551755" sldId="606"/>
            <ac:spMk id="5" creationId="{F0A65CD9-C530-9AFB-3BEA-4265C3FFE884}"/>
          </ac:spMkLst>
        </pc:spChg>
        <pc:spChg chg="mod">
          <ac:chgData name="Peter Eichenberger" userId="728f4d23-4a61-4401-9315-f0ce5ffabd34" providerId="ADAL" clId="{A295695A-2F8E-4282-8B02-6156BD1E7B75}" dt="2023-09-18T10:52:34.473" v="3358" actId="20577"/>
          <ac:spMkLst>
            <pc:docMk/>
            <pc:sldMk cId="3994551755" sldId="606"/>
            <ac:spMk id="6" creationId="{CFA3D41A-B160-E0F2-6B34-9EF569CF640C}"/>
          </ac:spMkLst>
        </pc:spChg>
        <pc:spChg chg="add del mod modVis">
          <ac:chgData name="Peter Eichenberger" userId="728f4d23-4a61-4401-9315-f0ce5ffabd34" providerId="ADAL" clId="{A295695A-2F8E-4282-8B02-6156BD1E7B75}" dt="2023-09-18T10:52:31.389" v="3355"/>
          <ac:spMkLst>
            <pc:docMk/>
            <pc:sldMk cId="3994551755" sldId="606"/>
            <ac:spMk id="10" creationId="{57EF758F-72F9-149D-C239-89C91703E570}"/>
          </ac:spMkLst>
        </pc:spChg>
        <pc:graphicFrameChg chg="mod">
          <ac:chgData name="Peter Eichenberger" userId="728f4d23-4a61-4401-9315-f0ce5ffabd34" providerId="ADAL" clId="{A295695A-2F8E-4282-8B02-6156BD1E7B75}" dt="2023-09-18T10:52:31.391" v="3357"/>
          <ac:graphicFrameMkLst>
            <pc:docMk/>
            <pc:sldMk cId="3994551755" sldId="606"/>
            <ac:graphicFrameMk id="9" creationId="{79E9C736-B4FA-FA18-6AC5-4A830E301591}"/>
          </ac:graphicFrameMkLst>
        </pc:graphicFrameChg>
        <pc:picChg chg="del">
          <ac:chgData name="Peter Eichenberger" userId="728f4d23-4a61-4401-9315-f0ce5ffabd34" providerId="ADAL" clId="{A295695A-2F8E-4282-8B02-6156BD1E7B75}" dt="2023-09-18T10:52:17.005" v="3294" actId="478"/>
          <ac:picMkLst>
            <pc:docMk/>
            <pc:sldMk cId="3994551755" sldId="606"/>
            <ac:picMk id="8" creationId="{BB5152D8-2440-CA68-B073-5E2C210D8892}"/>
          </ac:picMkLst>
        </pc:picChg>
        <pc:picChg chg="del">
          <ac:chgData name="Peter Eichenberger" userId="728f4d23-4a61-4401-9315-f0ce5ffabd34" providerId="ADAL" clId="{A295695A-2F8E-4282-8B02-6156BD1E7B75}" dt="2023-09-18T10:52:17.331" v="3295" actId="478"/>
          <ac:picMkLst>
            <pc:docMk/>
            <pc:sldMk cId="3994551755" sldId="606"/>
            <ac:picMk id="13" creationId="{4157EC39-8EFE-3B23-FCF6-F66DB39DB88F}"/>
          </ac:picMkLst>
        </pc:picChg>
        <pc:picChg chg="add mod">
          <ac:chgData name="Peter Eichenberger" userId="728f4d23-4a61-4401-9315-f0ce5ffabd34" providerId="ADAL" clId="{A295695A-2F8E-4282-8B02-6156BD1E7B75}" dt="2023-09-18T10:52:36.380" v="3360" actId="1076"/>
          <ac:picMkLst>
            <pc:docMk/>
            <pc:sldMk cId="3994551755" sldId="606"/>
            <ac:picMk id="1026" creationId="{F9BC6BBD-B23C-220D-E943-5C4142879AF0}"/>
          </ac:picMkLst>
        </pc:picChg>
      </pc:sldChg>
      <pc:sldChg chg="modSp add mod">
        <pc:chgData name="Peter Eichenberger" userId="728f4d23-4a61-4401-9315-f0ce5ffabd34" providerId="ADAL" clId="{A295695A-2F8E-4282-8B02-6156BD1E7B75}" dt="2023-09-18T10:50:56.416" v="3290" actId="20577"/>
        <pc:sldMkLst>
          <pc:docMk/>
          <pc:sldMk cId="120771051" sldId="607"/>
        </pc:sldMkLst>
        <pc:spChg chg="mod">
          <ac:chgData name="Peter Eichenberger" userId="728f4d23-4a61-4401-9315-f0ce5ffabd34" providerId="ADAL" clId="{A295695A-2F8E-4282-8B02-6156BD1E7B75}" dt="2023-09-18T10:50:56.416" v="3290" actId="20577"/>
          <ac:spMkLst>
            <pc:docMk/>
            <pc:sldMk cId="120771051" sldId="607"/>
            <ac:spMk id="10" creationId="{DDA659A3-41AD-40EC-1BAD-E36DE4B740D8}"/>
          </ac:spMkLst>
        </pc:spChg>
      </pc:sldChg>
      <pc:sldChg chg="addSp modSp new add del mod">
        <pc:chgData name="Peter Eichenberger" userId="728f4d23-4a61-4401-9315-f0ce5ffabd34" providerId="ADAL" clId="{A295695A-2F8E-4282-8B02-6156BD1E7B75}" dt="2023-09-17T14:19:58.699" v="169" actId="47"/>
        <pc:sldMkLst>
          <pc:docMk/>
          <pc:sldMk cId="422310236" sldId="607"/>
        </pc:sldMkLst>
        <pc:spChg chg="mod">
          <ac:chgData name="Peter Eichenberger" userId="728f4d23-4a61-4401-9315-f0ce5ffabd34" providerId="ADAL" clId="{A295695A-2F8E-4282-8B02-6156BD1E7B75}" dt="2023-09-17T14:18:34.055" v="18" actId="27636"/>
          <ac:spMkLst>
            <pc:docMk/>
            <pc:sldMk cId="422310236" sldId="607"/>
            <ac:spMk id="7" creationId="{930E7C4F-E5E4-8110-8A85-BC8F4ADC76E2}"/>
          </ac:spMkLst>
        </pc:spChg>
        <pc:picChg chg="add mod modCrop">
          <ac:chgData name="Peter Eichenberger" userId="728f4d23-4a61-4401-9315-f0ce5ffabd34" providerId="ADAL" clId="{A295695A-2F8E-4282-8B02-6156BD1E7B75}" dt="2023-09-17T14:19:39.606" v="164" actId="732"/>
          <ac:picMkLst>
            <pc:docMk/>
            <pc:sldMk cId="422310236" sldId="607"/>
            <ac:picMk id="8" creationId="{AA689714-2B83-D1DD-66C5-680652E2BFA1}"/>
          </ac:picMkLst>
        </pc:picChg>
      </pc:sldChg>
      <pc:sldChg chg="addSp delSp modSp new add del mod ord modClrScheme chgLayout">
        <pc:chgData name="Peter Eichenberger" userId="728f4d23-4a61-4401-9315-f0ce5ffabd34" providerId="ADAL" clId="{A295695A-2F8E-4282-8B02-6156BD1E7B75}" dt="2023-09-17T17:45:37.343" v="3128" actId="2696"/>
        <pc:sldMkLst>
          <pc:docMk/>
          <pc:sldMk cId="4277639006" sldId="607"/>
        </pc:sldMkLst>
        <pc:spChg chg="mod ord">
          <ac:chgData name="Peter Eichenberger" userId="728f4d23-4a61-4401-9315-f0ce5ffabd34" providerId="ADAL" clId="{A295695A-2F8E-4282-8B02-6156BD1E7B75}" dt="2023-09-17T14:24:04.601" v="180"/>
          <ac:spMkLst>
            <pc:docMk/>
            <pc:sldMk cId="4277639006" sldId="607"/>
            <ac:spMk id="2" creationId="{E75F9B8A-0130-FC1B-E087-12510367C0D4}"/>
          </ac:spMkLst>
        </pc:spChg>
        <pc:spChg chg="mod ord">
          <ac:chgData name="Peter Eichenberger" userId="728f4d23-4a61-4401-9315-f0ce5ffabd34" providerId="ADAL" clId="{A295695A-2F8E-4282-8B02-6156BD1E7B75}" dt="2023-09-17T14:24:04.601" v="180"/>
          <ac:spMkLst>
            <pc:docMk/>
            <pc:sldMk cId="4277639006" sldId="607"/>
            <ac:spMk id="3" creationId="{72DD9EAC-3DE0-8CB8-4BE8-AF37E6886B99}"/>
          </ac:spMkLst>
        </pc:spChg>
        <pc:spChg chg="mod ord">
          <ac:chgData name="Peter Eichenberger" userId="728f4d23-4a61-4401-9315-f0ce5ffabd34" providerId="ADAL" clId="{A295695A-2F8E-4282-8B02-6156BD1E7B75}" dt="2023-09-17T14:24:04.601" v="180"/>
          <ac:spMkLst>
            <pc:docMk/>
            <pc:sldMk cId="4277639006" sldId="607"/>
            <ac:spMk id="4" creationId="{7B19B4FA-8AA0-2641-E54E-7679F7652026}"/>
          </ac:spMkLst>
        </pc:spChg>
        <pc:spChg chg="del mod ord">
          <ac:chgData name="Peter Eichenberger" userId="728f4d23-4a61-4401-9315-f0ce5ffabd34" providerId="ADAL" clId="{A295695A-2F8E-4282-8B02-6156BD1E7B75}" dt="2023-09-17T14:24:04.601" v="180"/>
          <ac:spMkLst>
            <pc:docMk/>
            <pc:sldMk cId="4277639006" sldId="607"/>
            <ac:spMk id="5" creationId="{6B485C9B-4823-B979-D72F-B220682A5F3B}"/>
          </ac:spMkLst>
        </pc:spChg>
        <pc:spChg chg="del mod ord">
          <ac:chgData name="Peter Eichenberger" userId="728f4d23-4a61-4401-9315-f0ce5ffabd34" providerId="ADAL" clId="{A295695A-2F8E-4282-8B02-6156BD1E7B75}" dt="2023-09-17T14:24:04.601" v="180"/>
          <ac:spMkLst>
            <pc:docMk/>
            <pc:sldMk cId="4277639006" sldId="607"/>
            <ac:spMk id="6" creationId="{47CBE0B3-813A-3C15-8F50-CB87D19A25FA}"/>
          </ac:spMkLst>
        </pc:spChg>
        <pc:spChg chg="del mod ord">
          <ac:chgData name="Peter Eichenberger" userId="728f4d23-4a61-4401-9315-f0ce5ffabd34" providerId="ADAL" clId="{A295695A-2F8E-4282-8B02-6156BD1E7B75}" dt="2023-09-17T14:24:04.601" v="180"/>
          <ac:spMkLst>
            <pc:docMk/>
            <pc:sldMk cId="4277639006" sldId="607"/>
            <ac:spMk id="7" creationId="{83E38CC7-0A54-59DB-AD3B-7F8D4FC4A81C}"/>
          </ac:spMkLst>
        </pc:spChg>
        <pc:spChg chg="del">
          <ac:chgData name="Peter Eichenberger" userId="728f4d23-4a61-4401-9315-f0ce5ffabd34" providerId="ADAL" clId="{A295695A-2F8E-4282-8B02-6156BD1E7B75}" dt="2023-09-17T14:24:04.601" v="180"/>
          <ac:spMkLst>
            <pc:docMk/>
            <pc:sldMk cId="4277639006" sldId="607"/>
            <ac:spMk id="8" creationId="{56155F6E-F03C-806F-73D5-0F176CE53575}"/>
          </ac:spMkLst>
        </pc:spChg>
        <pc:spChg chg="add mod ord">
          <ac:chgData name="Peter Eichenberger" userId="728f4d23-4a61-4401-9315-f0ce5ffabd34" providerId="ADAL" clId="{A295695A-2F8E-4282-8B02-6156BD1E7B75}" dt="2023-09-17T14:24:58.005" v="232" actId="948"/>
          <ac:spMkLst>
            <pc:docMk/>
            <pc:sldMk cId="4277639006" sldId="607"/>
            <ac:spMk id="9" creationId="{C6D8E573-A6EC-A07F-748A-33CC8DC51A57}"/>
          </ac:spMkLst>
        </pc:spChg>
        <pc:spChg chg="add mod ord">
          <ac:chgData name="Peter Eichenberger" userId="728f4d23-4a61-4401-9315-f0ce5ffabd34" providerId="ADAL" clId="{A295695A-2F8E-4282-8B02-6156BD1E7B75}" dt="2023-09-17T14:24:45.813" v="218"/>
          <ac:spMkLst>
            <pc:docMk/>
            <pc:sldMk cId="4277639006" sldId="607"/>
            <ac:spMk id="10" creationId="{DDA659A3-41AD-40EC-1BAD-E36DE4B740D8}"/>
          </ac:spMkLst>
        </pc:spChg>
        <pc:spChg chg="add mod ord">
          <ac:chgData name="Peter Eichenberger" userId="728f4d23-4a61-4401-9315-f0ce5ffabd34" providerId="ADAL" clId="{A295695A-2F8E-4282-8B02-6156BD1E7B75}" dt="2023-09-17T14:24:04.622" v="181" actId="27636"/>
          <ac:spMkLst>
            <pc:docMk/>
            <pc:sldMk cId="4277639006" sldId="607"/>
            <ac:spMk id="11" creationId="{E579B686-B91F-F85C-8AD9-034DE4A6325A}"/>
          </ac:spMkLst>
        </pc:spChg>
        <pc:graphicFrameChg chg="add mod ord modVis replST">
          <ac:chgData name="Peter Eichenberger" userId="728f4d23-4a61-4401-9315-f0ce5ffabd34" providerId="ADAL" clId="{A295695A-2F8E-4282-8B02-6156BD1E7B75}" dt="2023-09-17T14:24:58.007" v="236"/>
          <ac:graphicFrameMkLst>
            <pc:docMk/>
            <pc:sldMk cId="4277639006" sldId="607"/>
            <ac:graphicFrameMk id="12" creationId="{B27510D7-783D-2341-7EBA-6F89F29C1F0F}"/>
          </ac:graphicFrameMkLst>
        </pc:graphicFrameChg>
      </pc:sldChg>
      <pc:sldChg chg="addSp delSp modSp add del mod modNotesTx">
        <pc:chgData name="Peter Eichenberger" userId="728f4d23-4a61-4401-9315-f0ce5ffabd34" providerId="ADAL" clId="{A295695A-2F8E-4282-8B02-6156BD1E7B75}" dt="2023-09-17T17:45:37.343" v="3128" actId="2696"/>
        <pc:sldMkLst>
          <pc:docMk/>
          <pc:sldMk cId="1507370746" sldId="608"/>
        </pc:sldMkLst>
        <pc:spChg chg="mod">
          <ac:chgData name="Peter Eichenberger" userId="728f4d23-4a61-4401-9315-f0ce5ffabd34" providerId="ADAL" clId="{A295695A-2F8E-4282-8B02-6156BD1E7B75}" dt="2023-09-17T14:30:53.216" v="276" actId="948"/>
          <ac:spMkLst>
            <pc:docMk/>
            <pc:sldMk cId="1507370746" sldId="608"/>
            <ac:spMk id="8" creationId="{00000000-0000-0000-0000-000000000000}"/>
          </ac:spMkLst>
        </pc:spChg>
        <pc:spChg chg="mod">
          <ac:chgData name="Peter Eichenberger" userId="728f4d23-4a61-4401-9315-f0ce5ffabd34" providerId="ADAL" clId="{A295695A-2F8E-4282-8B02-6156BD1E7B75}" dt="2023-09-17T14:30:56.608" v="294" actId="6549"/>
          <ac:spMkLst>
            <pc:docMk/>
            <pc:sldMk cId="1507370746" sldId="608"/>
            <ac:spMk id="10" creationId="{00000000-0000-0000-0000-000000000000}"/>
          </ac:spMkLst>
        </pc:spChg>
        <pc:graphicFrameChg chg="add mod ord modVis replST">
          <ac:chgData name="Peter Eichenberger" userId="728f4d23-4a61-4401-9315-f0ce5ffabd34" providerId="ADAL" clId="{A295695A-2F8E-4282-8B02-6156BD1E7B75}" dt="2023-09-17T14:30:53.238" v="293"/>
          <ac:graphicFrameMkLst>
            <pc:docMk/>
            <pc:sldMk cId="1507370746" sldId="608"/>
            <ac:graphicFrameMk id="7" creationId="{2445B437-43A0-3ED2-8D7A-D7B9B9554D62}"/>
          </ac:graphicFrameMkLst>
        </pc:graphicFrameChg>
        <pc:picChg chg="add del mod">
          <ac:chgData name="Peter Eichenberger" userId="728f4d23-4a61-4401-9315-f0ce5ffabd34" providerId="ADAL" clId="{A295695A-2F8E-4282-8B02-6156BD1E7B75}" dt="2023-09-17T14:30:42.861" v="266" actId="478"/>
          <ac:picMkLst>
            <pc:docMk/>
            <pc:sldMk cId="1507370746" sldId="608"/>
            <ac:picMk id="5" creationId="{9BD8468F-C4BC-4C81-F92D-DA6A68DBC129}"/>
          </ac:picMkLst>
        </pc:picChg>
        <pc:picChg chg="add del mod">
          <ac:chgData name="Peter Eichenberger" userId="728f4d23-4a61-4401-9315-f0ce5ffabd34" providerId="ADAL" clId="{A295695A-2F8E-4282-8B02-6156BD1E7B75}" dt="2023-09-17T14:30:42.411" v="265" actId="478"/>
          <ac:picMkLst>
            <pc:docMk/>
            <pc:sldMk cId="1507370746" sldId="608"/>
            <ac:picMk id="6" creationId="{9E7821EF-128F-8401-E529-3502CCBCC611}"/>
          </ac:picMkLst>
        </pc:picChg>
        <pc:picChg chg="add mod">
          <ac:chgData name="Peter Eichenberger" userId="728f4d23-4a61-4401-9315-f0ce5ffabd34" providerId="ADAL" clId="{A295695A-2F8E-4282-8B02-6156BD1E7B75}" dt="2023-09-17T14:31:12.089" v="300" actId="1076"/>
          <ac:picMkLst>
            <pc:docMk/>
            <pc:sldMk cId="1507370746" sldId="608"/>
            <ac:picMk id="9" creationId="{68269F94-083E-60B0-81BA-33612E5C3B72}"/>
          </ac:picMkLst>
        </pc:picChg>
        <pc:picChg chg="mod">
          <ac:chgData name="Peter Eichenberger" userId="728f4d23-4a61-4401-9315-f0ce5ffabd34" providerId="ADAL" clId="{A295695A-2F8E-4282-8B02-6156BD1E7B75}" dt="2023-09-17T14:30:46.232" v="267" actId="14826"/>
          <ac:picMkLst>
            <pc:docMk/>
            <pc:sldMk cId="1507370746" sldId="608"/>
            <ac:picMk id="13" creationId="{00000000-0000-0000-0000-000000000000}"/>
          </ac:picMkLst>
        </pc:picChg>
      </pc:sldChg>
      <pc:sldChg chg="add">
        <pc:chgData name="Peter Eichenberger" userId="728f4d23-4a61-4401-9315-f0ce5ffabd34" providerId="ADAL" clId="{A295695A-2F8E-4282-8B02-6156BD1E7B75}" dt="2023-09-17T17:45:43.785" v="3129"/>
        <pc:sldMkLst>
          <pc:docMk/>
          <pc:sldMk cId="3392386725" sldId="608"/>
        </pc:sldMkLst>
      </pc:sldChg>
      <pc:sldChg chg="modSp add mod">
        <pc:chgData name="Peter Eichenberger" userId="728f4d23-4a61-4401-9315-f0ce5ffabd34" providerId="ADAL" clId="{A295695A-2F8E-4282-8B02-6156BD1E7B75}" dt="2023-09-17T14:57:30.187" v="1444" actId="20577"/>
        <pc:sldMkLst>
          <pc:docMk/>
          <pc:sldMk cId="1040899732" sldId="609"/>
        </pc:sldMkLst>
        <pc:spChg chg="mod">
          <ac:chgData name="Peter Eichenberger" userId="728f4d23-4a61-4401-9315-f0ce5ffabd34" providerId="ADAL" clId="{A295695A-2F8E-4282-8B02-6156BD1E7B75}" dt="2023-09-17T14:57:30.187" v="1444" actId="20577"/>
          <ac:spMkLst>
            <pc:docMk/>
            <pc:sldMk cId="1040899732" sldId="609"/>
            <ac:spMk id="10" creationId="{00000000-0000-0000-0000-000000000000}"/>
          </ac:spMkLst>
        </pc:spChg>
      </pc:sldChg>
      <pc:sldChg chg="delSp modSp add mod ord modNotesTx">
        <pc:chgData name="Peter Eichenberger" userId="728f4d23-4a61-4401-9315-f0ce5ffabd34" providerId="ADAL" clId="{A295695A-2F8E-4282-8B02-6156BD1E7B75}" dt="2023-09-17T15:11:16.925" v="2000"/>
        <pc:sldMkLst>
          <pc:docMk/>
          <pc:sldMk cId="114428335" sldId="610"/>
        </pc:sldMkLst>
        <pc:spChg chg="mod">
          <ac:chgData name="Peter Eichenberger" userId="728f4d23-4a61-4401-9315-f0ce5ffabd34" providerId="ADAL" clId="{A295695A-2F8E-4282-8B02-6156BD1E7B75}" dt="2023-09-17T15:11:16.921" v="1996" actId="948"/>
          <ac:spMkLst>
            <pc:docMk/>
            <pc:sldMk cId="114428335" sldId="610"/>
            <ac:spMk id="8" creationId="{00000000-0000-0000-0000-000000000000}"/>
          </ac:spMkLst>
        </pc:spChg>
        <pc:graphicFrameChg chg="mod">
          <ac:chgData name="Peter Eichenberger" userId="728f4d23-4a61-4401-9315-f0ce5ffabd34" providerId="ADAL" clId="{A295695A-2F8E-4282-8B02-6156BD1E7B75}" dt="2023-09-17T15:11:16.925" v="2000"/>
          <ac:graphicFrameMkLst>
            <pc:docMk/>
            <pc:sldMk cId="114428335" sldId="610"/>
            <ac:graphicFrameMk id="7" creationId="{2445B437-43A0-3ED2-8D7A-D7B9B9554D62}"/>
          </ac:graphicFrameMkLst>
        </pc:graphicFrameChg>
        <pc:picChg chg="del">
          <ac:chgData name="Peter Eichenberger" userId="728f4d23-4a61-4401-9315-f0ce5ffabd34" providerId="ADAL" clId="{A295695A-2F8E-4282-8B02-6156BD1E7B75}" dt="2023-09-17T15:10:30.145" v="1971" actId="478"/>
          <ac:picMkLst>
            <pc:docMk/>
            <pc:sldMk cId="114428335" sldId="610"/>
            <ac:picMk id="9" creationId="{68269F94-083E-60B0-81BA-33612E5C3B72}"/>
          </ac:picMkLst>
        </pc:picChg>
        <pc:picChg chg="mod">
          <ac:chgData name="Peter Eichenberger" userId="728f4d23-4a61-4401-9315-f0ce5ffabd34" providerId="ADAL" clId="{A295695A-2F8E-4282-8B02-6156BD1E7B75}" dt="2023-09-17T15:10:26.905" v="1970" actId="14826"/>
          <ac:picMkLst>
            <pc:docMk/>
            <pc:sldMk cId="114428335" sldId="610"/>
            <ac:picMk id="13" creationId="{00000000-0000-0000-0000-000000000000}"/>
          </ac:picMkLst>
        </pc:picChg>
      </pc:sldChg>
      <pc:sldChg chg="modSp new add del mod ord">
        <pc:chgData name="Peter Eichenberger" userId="728f4d23-4a61-4401-9315-f0ce5ffabd34" providerId="ADAL" clId="{A295695A-2F8E-4282-8B02-6156BD1E7B75}" dt="2023-09-17T14:40:20.461" v="512" actId="47"/>
        <pc:sldMkLst>
          <pc:docMk/>
          <pc:sldMk cId="3892680037" sldId="610"/>
        </pc:sldMkLst>
        <pc:spChg chg="mod">
          <ac:chgData name="Peter Eichenberger" userId="728f4d23-4a61-4401-9315-f0ce5ffabd34" providerId="ADAL" clId="{A295695A-2F8E-4282-8B02-6156BD1E7B75}" dt="2023-09-17T14:39:37.452" v="511" actId="27636"/>
          <ac:spMkLst>
            <pc:docMk/>
            <pc:sldMk cId="3892680037" sldId="610"/>
            <ac:spMk id="7" creationId="{9730A250-F287-E72E-1E65-0B7964BC3C8C}"/>
          </ac:spMkLst>
        </pc:spChg>
      </pc:sldChg>
      <pc:sldChg chg="addSp delSp modSp add mod">
        <pc:chgData name="Peter Eichenberger" userId="728f4d23-4a61-4401-9315-f0ce5ffabd34" providerId="ADAL" clId="{A295695A-2F8E-4282-8B02-6156BD1E7B75}" dt="2023-09-17T17:46:29.789" v="3207"/>
        <pc:sldMkLst>
          <pc:docMk/>
          <pc:sldMk cId="890111987" sldId="611"/>
        </pc:sldMkLst>
        <pc:spChg chg="add del mod modVis">
          <ac:chgData name="Peter Eichenberger" userId="728f4d23-4a61-4401-9315-f0ce5ffabd34" providerId="ADAL" clId="{A295695A-2F8E-4282-8B02-6156BD1E7B75}" dt="2023-09-17T17:39:36.492" v="2791"/>
          <ac:spMkLst>
            <pc:docMk/>
            <pc:sldMk cId="890111987" sldId="611"/>
            <ac:spMk id="5" creationId="{EEE5DD07-32D8-08A5-1AA9-CAAE931022F7}"/>
          </ac:spMkLst>
        </pc:spChg>
        <pc:spChg chg="add del mod modVis">
          <ac:chgData name="Peter Eichenberger" userId="728f4d23-4a61-4401-9315-f0ce5ffabd34" providerId="ADAL" clId="{A295695A-2F8E-4282-8B02-6156BD1E7B75}" dt="2023-09-17T17:46:27.164" v="3169"/>
          <ac:spMkLst>
            <pc:docMk/>
            <pc:sldMk cId="890111987" sldId="611"/>
            <ac:spMk id="6" creationId="{CCDDE18C-5807-1886-8CBE-EE413621C43C}"/>
          </ac:spMkLst>
        </pc:spChg>
        <pc:spChg chg="mod">
          <ac:chgData name="Peter Eichenberger" userId="728f4d23-4a61-4401-9315-f0ce5ffabd34" providerId="ADAL" clId="{A295695A-2F8E-4282-8B02-6156BD1E7B75}" dt="2023-09-17T17:46:29.773" v="3180" actId="948"/>
          <ac:spMkLst>
            <pc:docMk/>
            <pc:sldMk cId="890111987" sldId="611"/>
            <ac:spMk id="8" creationId="{00000000-0000-0000-0000-000000000000}"/>
          </ac:spMkLst>
        </pc:spChg>
        <pc:spChg chg="add del mod modVis">
          <ac:chgData name="Peter Eichenberger" userId="728f4d23-4a61-4401-9315-f0ce5ffabd34" providerId="ADAL" clId="{A295695A-2F8E-4282-8B02-6156BD1E7B75}" dt="2023-09-17T17:46:29.788" v="3205"/>
          <ac:spMkLst>
            <pc:docMk/>
            <pc:sldMk cId="890111987" sldId="611"/>
            <ac:spMk id="9" creationId="{DA713BBC-1EB0-5A82-BE6F-1A333CFF87A3}"/>
          </ac:spMkLst>
        </pc:spChg>
        <pc:graphicFrameChg chg="mod">
          <ac:chgData name="Peter Eichenberger" userId="728f4d23-4a61-4401-9315-f0ce5ffabd34" providerId="ADAL" clId="{A295695A-2F8E-4282-8B02-6156BD1E7B75}" dt="2023-09-17T17:46:29.789" v="3207"/>
          <ac:graphicFrameMkLst>
            <pc:docMk/>
            <pc:sldMk cId="890111987" sldId="611"/>
            <ac:graphicFrameMk id="7" creationId="{2445B437-43A0-3ED2-8D7A-D7B9B9554D62}"/>
          </ac:graphicFrameMkLst>
        </pc:graphicFrameChg>
        <pc:picChg chg="mod">
          <ac:chgData name="Peter Eichenberger" userId="728f4d23-4a61-4401-9315-f0ce5ffabd34" providerId="ADAL" clId="{A295695A-2F8E-4282-8B02-6156BD1E7B75}" dt="2023-09-17T15:12:20.366" v="2003" actId="14826"/>
          <ac:picMkLst>
            <pc:docMk/>
            <pc:sldMk cId="890111987" sldId="611"/>
            <ac:picMk id="13" creationId="{00000000-0000-0000-0000-000000000000}"/>
          </ac:picMkLst>
        </pc:picChg>
      </pc:sldChg>
      <pc:sldChg chg="addSp delSp modSp new add mod ord">
        <pc:chgData name="Peter Eichenberger" userId="728f4d23-4a61-4401-9315-f0ce5ffabd34" providerId="ADAL" clId="{A295695A-2F8E-4282-8B02-6156BD1E7B75}" dt="2023-09-17T17:31:29.049" v="2442" actId="1076"/>
        <pc:sldMkLst>
          <pc:docMk/>
          <pc:sldMk cId="1326238888" sldId="612"/>
        </pc:sldMkLst>
        <pc:spChg chg="mod">
          <ac:chgData name="Peter Eichenberger" userId="728f4d23-4a61-4401-9315-f0ce5ffabd34" providerId="ADAL" clId="{A295695A-2F8E-4282-8B02-6156BD1E7B75}" dt="2023-09-17T15:13:16.569" v="2152" actId="948"/>
          <ac:spMkLst>
            <pc:docMk/>
            <pc:sldMk cId="1326238888" sldId="612"/>
            <ac:spMk id="5" creationId="{9D2607E9-D15D-08EC-EDAB-B69BC5DAB8C1}"/>
          </ac:spMkLst>
        </pc:spChg>
        <pc:spChg chg="mod">
          <ac:chgData name="Peter Eichenberger" userId="728f4d23-4a61-4401-9315-f0ce5ffabd34" providerId="ADAL" clId="{A295695A-2F8E-4282-8B02-6156BD1E7B75}" dt="2023-09-17T15:13:53.509" v="2308" actId="20577"/>
          <ac:spMkLst>
            <pc:docMk/>
            <pc:sldMk cId="1326238888" sldId="612"/>
            <ac:spMk id="6" creationId="{CF6A240A-6497-AEE8-C025-2816685E73A9}"/>
          </ac:spMkLst>
        </pc:spChg>
        <pc:spChg chg="mod">
          <ac:chgData name="Peter Eichenberger" userId="728f4d23-4a61-4401-9315-f0ce5ffabd34" providerId="ADAL" clId="{A295695A-2F8E-4282-8B02-6156BD1E7B75}" dt="2023-09-17T15:13:11.166" v="2078" actId="27636"/>
          <ac:spMkLst>
            <pc:docMk/>
            <pc:sldMk cId="1326238888" sldId="612"/>
            <ac:spMk id="7" creationId="{A2354B56-1789-6C07-1B64-67FE5CBEFF14}"/>
          </ac:spMkLst>
        </pc:spChg>
        <pc:spChg chg="add del mod modVis">
          <ac:chgData name="Peter Eichenberger" userId="728f4d23-4a61-4401-9315-f0ce5ffabd34" providerId="ADAL" clId="{A295695A-2F8E-4282-8B02-6156BD1E7B75}" dt="2023-09-17T15:13:11.123" v="2062"/>
          <ac:spMkLst>
            <pc:docMk/>
            <pc:sldMk cId="1326238888" sldId="612"/>
            <ac:spMk id="8" creationId="{2AEAE173-EE61-AA7A-D4BE-BFBC695D1468}"/>
          </ac:spMkLst>
        </pc:spChg>
        <pc:spChg chg="add del mod modVis">
          <ac:chgData name="Peter Eichenberger" userId="728f4d23-4a61-4401-9315-f0ce5ffabd34" providerId="ADAL" clId="{A295695A-2F8E-4282-8B02-6156BD1E7B75}" dt="2023-09-17T15:13:12.397" v="2108"/>
          <ac:spMkLst>
            <pc:docMk/>
            <pc:sldMk cId="1326238888" sldId="612"/>
            <ac:spMk id="10" creationId="{F4F07DA8-2D70-A271-4E04-54CDEC955C47}"/>
          </ac:spMkLst>
        </pc:spChg>
        <pc:spChg chg="add del mod modVis">
          <ac:chgData name="Peter Eichenberger" userId="728f4d23-4a61-4401-9315-f0ce5ffabd34" providerId="ADAL" clId="{A295695A-2F8E-4282-8B02-6156BD1E7B75}" dt="2023-09-17T15:13:15.237" v="2148"/>
          <ac:spMkLst>
            <pc:docMk/>
            <pc:sldMk cId="1326238888" sldId="612"/>
            <ac:spMk id="11" creationId="{02AE4DD6-3D13-EAF1-94FE-4925F1707122}"/>
          </ac:spMkLst>
        </pc:spChg>
        <pc:spChg chg="add del mod modVis">
          <ac:chgData name="Peter Eichenberger" userId="728f4d23-4a61-4401-9315-f0ce5ffabd34" providerId="ADAL" clId="{A295695A-2F8E-4282-8B02-6156BD1E7B75}" dt="2023-09-17T15:13:16.585" v="2177"/>
          <ac:spMkLst>
            <pc:docMk/>
            <pc:sldMk cId="1326238888" sldId="612"/>
            <ac:spMk id="12" creationId="{2EC0E636-2F34-6A4C-E9F9-CCD8A36E012F}"/>
          </ac:spMkLst>
        </pc:spChg>
        <pc:spChg chg="add mod">
          <ac:chgData name="Peter Eichenberger" userId="728f4d23-4a61-4401-9315-f0ce5ffabd34" providerId="ADAL" clId="{A295695A-2F8E-4282-8B02-6156BD1E7B75}" dt="2023-09-17T17:31:29.049" v="2442" actId="1076"/>
          <ac:spMkLst>
            <pc:docMk/>
            <pc:sldMk cId="1326238888" sldId="612"/>
            <ac:spMk id="14" creationId="{7B42B4C2-FFE8-DAA3-2DD6-D966D34A391C}"/>
          </ac:spMkLst>
        </pc:spChg>
        <pc:graphicFrameChg chg="add mod ord modVis replST">
          <ac:chgData name="Peter Eichenberger" userId="728f4d23-4a61-4401-9315-f0ce5ffabd34" providerId="ADAL" clId="{A295695A-2F8E-4282-8B02-6156BD1E7B75}" dt="2023-09-17T15:13:16.587" v="2179"/>
          <ac:graphicFrameMkLst>
            <pc:docMk/>
            <pc:sldMk cId="1326238888" sldId="612"/>
            <ac:graphicFrameMk id="9" creationId="{80AE1362-57E1-9996-A04F-1AC4C1C0729A}"/>
          </ac:graphicFrameMkLst>
        </pc:graphicFrameChg>
        <pc:picChg chg="add mod">
          <ac:chgData name="Peter Eichenberger" userId="728f4d23-4a61-4401-9315-f0ce5ffabd34" providerId="ADAL" clId="{A295695A-2F8E-4282-8B02-6156BD1E7B75}" dt="2023-09-17T17:30:59.784" v="2425" actId="1076"/>
          <ac:picMkLst>
            <pc:docMk/>
            <pc:sldMk cId="1326238888" sldId="612"/>
            <ac:picMk id="13" creationId="{2F9A6A2F-CBD1-745B-0DE5-6A86D75C1DA4}"/>
          </ac:picMkLst>
        </pc:picChg>
      </pc:sldChg>
      <pc:sldChg chg="modSp add mod ord">
        <pc:chgData name="Peter Eichenberger" userId="728f4d23-4a61-4401-9315-f0ce5ffabd34" providerId="ADAL" clId="{A295695A-2F8E-4282-8B02-6156BD1E7B75}" dt="2023-09-17T17:38:24.280" v="2698" actId="1076"/>
        <pc:sldMkLst>
          <pc:docMk/>
          <pc:sldMk cId="1906186252" sldId="613"/>
        </pc:sldMkLst>
        <pc:spChg chg="mod">
          <ac:chgData name="Peter Eichenberger" userId="728f4d23-4a61-4401-9315-f0ce5ffabd34" providerId="ADAL" clId="{A295695A-2F8E-4282-8B02-6156BD1E7B75}" dt="2023-09-17T17:38:22.281" v="2697" actId="20577"/>
          <ac:spMkLst>
            <pc:docMk/>
            <pc:sldMk cId="1906186252" sldId="613"/>
            <ac:spMk id="6" creationId="{91A1C054-120A-E922-1212-ED7144729D0A}"/>
          </ac:spMkLst>
        </pc:spChg>
        <pc:spChg chg="mod">
          <ac:chgData name="Peter Eichenberger" userId="728f4d23-4a61-4401-9315-f0ce5ffabd34" providerId="ADAL" clId="{A295695A-2F8E-4282-8B02-6156BD1E7B75}" dt="2023-09-17T17:30:16.930" v="2423" actId="27636"/>
          <ac:spMkLst>
            <pc:docMk/>
            <pc:sldMk cId="1906186252" sldId="613"/>
            <ac:spMk id="7" creationId="{5D9E9AE6-80F1-1C22-2914-A376CFD893E3}"/>
          </ac:spMkLst>
        </pc:spChg>
        <pc:picChg chg="mod">
          <ac:chgData name="Peter Eichenberger" userId="728f4d23-4a61-4401-9315-f0ce5ffabd34" providerId="ADAL" clId="{A295695A-2F8E-4282-8B02-6156BD1E7B75}" dt="2023-09-17T17:38:24.280" v="2698" actId="1076"/>
          <ac:picMkLst>
            <pc:docMk/>
            <pc:sldMk cId="1906186252" sldId="613"/>
            <ac:picMk id="1026" creationId="{734ABD32-F9BB-E5DC-5B17-DEE03BD4F3A5}"/>
          </ac:picMkLst>
        </pc:picChg>
      </pc:sldChg>
      <pc:sldChg chg="addSp modSp new add mod">
        <pc:chgData name="Peter Eichenberger" userId="728f4d23-4a61-4401-9315-f0ce5ffabd34" providerId="ADAL" clId="{A295695A-2F8E-4282-8B02-6156BD1E7B75}" dt="2023-09-17T17:39:11.327" v="2757" actId="14100"/>
        <pc:sldMkLst>
          <pc:docMk/>
          <pc:sldMk cId="2186480425" sldId="614"/>
        </pc:sldMkLst>
        <pc:spChg chg="mod">
          <ac:chgData name="Peter Eichenberger" userId="728f4d23-4a61-4401-9315-f0ce5ffabd34" providerId="ADAL" clId="{A295695A-2F8E-4282-8B02-6156BD1E7B75}" dt="2023-09-17T17:33:53.311" v="2459" actId="948"/>
          <ac:spMkLst>
            <pc:docMk/>
            <pc:sldMk cId="2186480425" sldId="614"/>
            <ac:spMk id="5" creationId="{0B08E859-75A4-863F-5D9D-8AFF829C0EEB}"/>
          </ac:spMkLst>
        </pc:spChg>
        <pc:spChg chg="mod">
          <ac:chgData name="Peter Eichenberger" userId="728f4d23-4a61-4401-9315-f0ce5ffabd34" providerId="ADAL" clId="{A295695A-2F8E-4282-8B02-6156BD1E7B75}" dt="2023-09-17T17:38:56.538" v="2755" actId="20577"/>
          <ac:spMkLst>
            <pc:docMk/>
            <pc:sldMk cId="2186480425" sldId="614"/>
            <ac:spMk id="6" creationId="{9715BAE8-422F-70EF-3F96-B42436475148}"/>
          </ac:spMkLst>
        </pc:spChg>
        <pc:graphicFrameChg chg="add mod ord modVis replST">
          <ac:chgData name="Peter Eichenberger" userId="728f4d23-4a61-4401-9315-f0ce5ffabd34" providerId="ADAL" clId="{A295695A-2F8E-4282-8B02-6156BD1E7B75}" dt="2023-09-17T17:33:53.331" v="2476"/>
          <ac:graphicFrameMkLst>
            <pc:docMk/>
            <pc:sldMk cId="2186480425" sldId="614"/>
            <ac:graphicFrameMk id="8" creationId="{A60F7E94-0806-3840-D906-BAB0E0719E03}"/>
          </ac:graphicFrameMkLst>
        </pc:graphicFrameChg>
        <pc:picChg chg="add mod">
          <ac:chgData name="Peter Eichenberger" userId="728f4d23-4a61-4401-9315-f0ce5ffabd34" providerId="ADAL" clId="{A295695A-2F8E-4282-8B02-6156BD1E7B75}" dt="2023-09-17T17:38:59.992" v="2756" actId="14100"/>
          <ac:picMkLst>
            <pc:docMk/>
            <pc:sldMk cId="2186480425" sldId="614"/>
            <ac:picMk id="2050" creationId="{FAC764E1-FBD3-4787-A6D1-F15B84E96121}"/>
          </ac:picMkLst>
        </pc:picChg>
        <pc:picChg chg="add mod">
          <ac:chgData name="Peter Eichenberger" userId="728f4d23-4a61-4401-9315-f0ce5ffabd34" providerId="ADAL" clId="{A295695A-2F8E-4282-8B02-6156BD1E7B75}" dt="2023-09-17T17:39:11.327" v="2757" actId="14100"/>
          <ac:picMkLst>
            <pc:docMk/>
            <pc:sldMk cId="2186480425" sldId="614"/>
            <ac:picMk id="2052" creationId="{85C29EFC-3706-C827-1526-CE2D58352DAD}"/>
          </ac:picMkLst>
        </pc:picChg>
      </pc:sldChg>
      <pc:sldChg chg="addSp delSp modSp new add mod">
        <pc:chgData name="Peter Eichenberger" userId="728f4d23-4a61-4401-9315-f0ce5ffabd34" providerId="ADAL" clId="{A295695A-2F8E-4282-8B02-6156BD1E7B75}" dt="2023-09-17T17:44:08.398" v="3127" actId="1076"/>
        <pc:sldMkLst>
          <pc:docMk/>
          <pc:sldMk cId="3944145150" sldId="615"/>
        </pc:sldMkLst>
        <pc:spChg chg="mod">
          <ac:chgData name="Peter Eichenberger" userId="728f4d23-4a61-4401-9315-f0ce5ffabd34" providerId="ADAL" clId="{A295695A-2F8E-4282-8B02-6156BD1E7B75}" dt="2023-09-17T17:40:01.858" v="3019" actId="948"/>
          <ac:spMkLst>
            <pc:docMk/>
            <pc:sldMk cId="3944145150" sldId="615"/>
            <ac:spMk id="5" creationId="{4807DEA3-4649-E2E4-0DF9-80C7346A6604}"/>
          </ac:spMkLst>
        </pc:spChg>
        <pc:spChg chg="mod">
          <ac:chgData name="Peter Eichenberger" userId="728f4d23-4a61-4401-9315-f0ce5ffabd34" providerId="ADAL" clId="{A295695A-2F8E-4282-8B02-6156BD1E7B75}" dt="2023-09-17T17:40:30.184" v="3115" actId="20577"/>
          <ac:spMkLst>
            <pc:docMk/>
            <pc:sldMk cId="3944145150" sldId="615"/>
            <ac:spMk id="6" creationId="{8A3A68E0-57C8-6D75-001C-1D111DE1BF26}"/>
          </ac:spMkLst>
        </pc:spChg>
        <pc:spChg chg="mod">
          <ac:chgData name="Peter Eichenberger" userId="728f4d23-4a61-4401-9315-f0ce5ffabd34" providerId="ADAL" clId="{A295695A-2F8E-4282-8B02-6156BD1E7B75}" dt="2023-09-17T17:39:53.295" v="2853" actId="27636"/>
          <ac:spMkLst>
            <pc:docMk/>
            <pc:sldMk cId="3944145150" sldId="615"/>
            <ac:spMk id="7" creationId="{86157A59-B28F-5BE2-72FB-E2DEF0084141}"/>
          </ac:spMkLst>
        </pc:spChg>
        <pc:spChg chg="add del mod modVis">
          <ac:chgData name="Peter Eichenberger" userId="728f4d23-4a61-4401-9315-f0ce5ffabd34" providerId="ADAL" clId="{A295695A-2F8E-4282-8B02-6156BD1E7B75}" dt="2023-09-17T17:39:53.218" v="2836"/>
          <ac:spMkLst>
            <pc:docMk/>
            <pc:sldMk cId="3944145150" sldId="615"/>
            <ac:spMk id="8" creationId="{04EBE437-E978-5453-69CE-D3A2F35A1812}"/>
          </ac:spMkLst>
        </pc:spChg>
        <pc:spChg chg="add del mod modVis">
          <ac:chgData name="Peter Eichenberger" userId="728f4d23-4a61-4401-9315-f0ce5ffabd34" providerId="ADAL" clId="{A295695A-2F8E-4282-8B02-6156BD1E7B75}" dt="2023-09-17T17:39:54.563" v="2883"/>
          <ac:spMkLst>
            <pc:docMk/>
            <pc:sldMk cId="3944145150" sldId="615"/>
            <ac:spMk id="10" creationId="{59CDC843-A1F5-A770-0B75-846C168F40F4}"/>
          </ac:spMkLst>
        </pc:spChg>
        <pc:spChg chg="add del mod modVis">
          <ac:chgData name="Peter Eichenberger" userId="728f4d23-4a61-4401-9315-f0ce5ffabd34" providerId="ADAL" clId="{A295695A-2F8E-4282-8B02-6156BD1E7B75}" dt="2023-09-17T17:39:55.361" v="2912"/>
          <ac:spMkLst>
            <pc:docMk/>
            <pc:sldMk cId="3944145150" sldId="615"/>
            <ac:spMk id="11" creationId="{CF15E4C3-6431-CD51-B5B8-341884B974A9}"/>
          </ac:spMkLst>
        </pc:spChg>
        <pc:spChg chg="add del mod modVis">
          <ac:chgData name="Peter Eichenberger" userId="728f4d23-4a61-4401-9315-f0ce5ffabd34" providerId="ADAL" clId="{A295695A-2F8E-4282-8B02-6156BD1E7B75}" dt="2023-09-17T17:39:57.921" v="2950"/>
          <ac:spMkLst>
            <pc:docMk/>
            <pc:sldMk cId="3944145150" sldId="615"/>
            <ac:spMk id="12" creationId="{A4B33EB6-E1B9-E7F6-B0B6-96DFDB7E0667}"/>
          </ac:spMkLst>
        </pc:spChg>
        <pc:spChg chg="add del mod modVis">
          <ac:chgData name="Peter Eichenberger" userId="728f4d23-4a61-4401-9315-f0ce5ffabd34" providerId="ADAL" clId="{A295695A-2F8E-4282-8B02-6156BD1E7B75}" dt="2023-09-17T17:39:58.834" v="2980"/>
          <ac:spMkLst>
            <pc:docMk/>
            <pc:sldMk cId="3944145150" sldId="615"/>
            <ac:spMk id="13" creationId="{F6BBDE36-9196-7AF5-35E4-0EFFAFD4F68D}"/>
          </ac:spMkLst>
        </pc:spChg>
        <pc:spChg chg="add del mod modVis">
          <ac:chgData name="Peter Eichenberger" userId="728f4d23-4a61-4401-9315-f0ce5ffabd34" providerId="ADAL" clId="{A295695A-2F8E-4282-8B02-6156BD1E7B75}" dt="2023-09-17T17:40:00.148" v="3010"/>
          <ac:spMkLst>
            <pc:docMk/>
            <pc:sldMk cId="3944145150" sldId="615"/>
            <ac:spMk id="14" creationId="{CA5B58B7-9937-D29B-2D3F-F9E2485F08A6}"/>
          </ac:spMkLst>
        </pc:spChg>
        <pc:spChg chg="add del mod modVis">
          <ac:chgData name="Peter Eichenberger" userId="728f4d23-4a61-4401-9315-f0ce5ffabd34" providerId="ADAL" clId="{A295695A-2F8E-4282-8B02-6156BD1E7B75}" dt="2023-09-17T17:40:01.872" v="3044"/>
          <ac:spMkLst>
            <pc:docMk/>
            <pc:sldMk cId="3944145150" sldId="615"/>
            <ac:spMk id="15" creationId="{BA22549B-C8E0-60B8-929E-633C21F662F5}"/>
          </ac:spMkLst>
        </pc:spChg>
        <pc:graphicFrameChg chg="add mod ord modVis replST">
          <ac:chgData name="Peter Eichenberger" userId="728f4d23-4a61-4401-9315-f0ce5ffabd34" providerId="ADAL" clId="{A295695A-2F8E-4282-8B02-6156BD1E7B75}" dt="2023-09-17T17:40:01.873" v="3046"/>
          <ac:graphicFrameMkLst>
            <pc:docMk/>
            <pc:sldMk cId="3944145150" sldId="615"/>
            <ac:graphicFrameMk id="9" creationId="{B3D2D80F-CA80-3ACC-16A8-1E25F41A9161}"/>
          </ac:graphicFrameMkLst>
        </pc:graphicFrameChg>
        <pc:picChg chg="add del mod">
          <ac:chgData name="Peter Eichenberger" userId="728f4d23-4a61-4401-9315-f0ce5ffabd34" providerId="ADAL" clId="{A295695A-2F8E-4282-8B02-6156BD1E7B75}" dt="2023-09-17T17:43:58.412" v="3120" actId="478"/>
          <ac:picMkLst>
            <pc:docMk/>
            <pc:sldMk cId="3944145150" sldId="615"/>
            <ac:picMk id="17" creationId="{DF75F13A-9213-43F5-6899-40224FEC5BE1}"/>
          </ac:picMkLst>
        </pc:picChg>
        <pc:picChg chg="add mod">
          <ac:chgData name="Peter Eichenberger" userId="728f4d23-4a61-4401-9315-f0ce5ffabd34" providerId="ADAL" clId="{A295695A-2F8E-4282-8B02-6156BD1E7B75}" dt="2023-09-17T17:44:08.398" v="3127" actId="1076"/>
          <ac:picMkLst>
            <pc:docMk/>
            <pc:sldMk cId="3944145150" sldId="615"/>
            <ac:picMk id="19" creationId="{02A28E8B-0AE7-5053-BDF7-AFCF8FFBAF96}"/>
          </ac:picMkLst>
        </pc:picChg>
      </pc:sldChg>
      <pc:sldChg chg="delSp add">
        <pc:chgData name="Peter Eichenberger" userId="728f4d23-4a61-4401-9315-f0ce5ffabd34" providerId="ADAL" clId="{A295695A-2F8E-4282-8B02-6156BD1E7B75}" dt="2023-09-18T10:52:15.374" v="3293" actId="478"/>
        <pc:sldMkLst>
          <pc:docMk/>
          <pc:sldMk cId="11726877" sldId="616"/>
        </pc:sldMkLst>
        <pc:picChg chg="del">
          <ac:chgData name="Peter Eichenberger" userId="728f4d23-4a61-4401-9315-f0ce5ffabd34" providerId="ADAL" clId="{A295695A-2F8E-4282-8B02-6156BD1E7B75}" dt="2023-09-18T10:52:15.374" v="3293" actId="478"/>
          <ac:picMkLst>
            <pc:docMk/>
            <pc:sldMk cId="11726877" sldId="616"/>
            <ac:picMk id="1026" creationId="{F9BC6BBD-B23C-220D-E943-5C4142879AF0}"/>
          </ac:picMkLst>
        </pc:picChg>
      </pc:sldChg>
      <pc:sldChg chg="addSp modSp new add del mod">
        <pc:chgData name="Peter Eichenberger" userId="728f4d23-4a61-4401-9315-f0ce5ffabd34" providerId="ADAL" clId="{A295695A-2F8E-4282-8B02-6156BD1E7B75}" dt="2023-09-17T17:46:44.722" v="3248" actId="47"/>
        <pc:sldMkLst>
          <pc:docMk/>
          <pc:sldMk cId="1706848923" sldId="616"/>
        </pc:sldMkLst>
        <pc:spChg chg="mod">
          <ac:chgData name="Peter Eichenberger" userId="728f4d23-4a61-4401-9315-f0ce5ffabd34" providerId="ADAL" clId="{A295695A-2F8E-4282-8B02-6156BD1E7B75}" dt="2023-09-17T17:46:42.277" v="3243" actId="948"/>
          <ac:spMkLst>
            <pc:docMk/>
            <pc:sldMk cId="1706848923" sldId="616"/>
            <ac:spMk id="5" creationId="{72551589-144A-067E-CDA6-7886FC1619A8}"/>
          </ac:spMkLst>
        </pc:spChg>
        <pc:spChg chg="mod">
          <ac:chgData name="Peter Eichenberger" userId="728f4d23-4a61-4401-9315-f0ce5ffabd34" providerId="ADAL" clId="{A295695A-2F8E-4282-8B02-6156BD1E7B75}" dt="2023-09-17T17:46:41.364" v="3239" actId="27636"/>
          <ac:spMkLst>
            <pc:docMk/>
            <pc:sldMk cId="1706848923" sldId="616"/>
            <ac:spMk id="7" creationId="{CF56ECFF-CA73-FA06-B2E5-052C64BB2150}"/>
          </ac:spMkLst>
        </pc:spChg>
        <pc:graphicFrameChg chg="add mod ord modVis replST">
          <ac:chgData name="Peter Eichenberger" userId="728f4d23-4a61-4401-9315-f0ce5ffabd34" providerId="ADAL" clId="{A295695A-2F8E-4282-8B02-6156BD1E7B75}" dt="2023-09-17T17:46:42.280" v="3247"/>
          <ac:graphicFrameMkLst>
            <pc:docMk/>
            <pc:sldMk cId="1706848923" sldId="616"/>
            <ac:graphicFrameMk id="8" creationId="{74E5B79B-9CAF-1FF3-5569-C083907D084D}"/>
          </ac:graphicFrameMkLst>
        </pc:graphicFrameChg>
      </pc:sldChg>
      <pc:sldChg chg="addSp modSp new add">
        <pc:chgData name="Peter Eichenberger" userId="728f4d23-4a61-4401-9315-f0ce5ffabd34" providerId="ADAL" clId="{A295695A-2F8E-4282-8B02-6156BD1E7B75}" dt="2023-09-18T10:53:04.956" v="3365" actId="1076"/>
        <pc:sldMkLst>
          <pc:docMk/>
          <pc:sldMk cId="3357870615" sldId="617"/>
        </pc:sldMkLst>
        <pc:picChg chg="add mod">
          <ac:chgData name="Peter Eichenberger" userId="728f4d23-4a61-4401-9315-f0ce5ffabd34" providerId="ADAL" clId="{A295695A-2F8E-4282-8B02-6156BD1E7B75}" dt="2023-09-18T10:53:04.956" v="3365" actId="1076"/>
          <ac:picMkLst>
            <pc:docMk/>
            <pc:sldMk cId="3357870615" sldId="617"/>
            <ac:picMk id="2050" creationId="{CA1F11C5-A8B6-5AF4-D003-B15C3DE00579}"/>
          </ac:picMkLst>
        </pc:picChg>
      </pc:sldChg>
    </pc:docChg>
  </pc:docChgLst>
  <pc:docChgLst>
    <pc:chgData name="Peter Eichenberger" userId="728f4d23-4a61-4401-9315-f0ce5ffabd34" providerId="ADAL" clId="{BC88A3FC-46FA-4387-A40D-ED70483EB222}"/>
    <pc:docChg chg="undo custSel addSld modSld modMainMaster replTag">
      <pc:chgData name="Peter Eichenberger" userId="728f4d23-4a61-4401-9315-f0ce5ffabd34" providerId="ADAL" clId="{BC88A3FC-46FA-4387-A40D-ED70483EB222}" dt="2023-09-17T14:05:37.218" v="980" actId="1076"/>
      <pc:docMkLst>
        <pc:docMk/>
      </pc:docMkLst>
      <pc:sldChg chg="addSp delSp modSp mod">
        <pc:chgData name="Peter Eichenberger" userId="728f4d23-4a61-4401-9315-f0ce5ffabd34" providerId="ADAL" clId="{BC88A3FC-46FA-4387-A40D-ED70483EB222}" dt="2023-09-17T13:00:27.203" v="1" actId="478"/>
        <pc:sldMkLst>
          <pc:docMk/>
          <pc:sldMk cId="2492240993" sldId="288"/>
        </pc:sldMkLst>
        <pc:spChg chg="del">
          <ac:chgData name="Peter Eichenberger" userId="728f4d23-4a61-4401-9315-f0ce5ffabd34" providerId="ADAL" clId="{BC88A3FC-46FA-4387-A40D-ED70483EB222}" dt="2023-09-17T13:00:24.873" v="0" actId="478"/>
          <ac:spMkLst>
            <pc:docMk/>
            <pc:sldMk cId="2492240993" sldId="288"/>
            <ac:spMk id="5" creationId="{00000000-0000-0000-0000-000000000000}"/>
          </ac:spMkLst>
        </pc:spChg>
        <pc:spChg chg="del">
          <ac:chgData name="Peter Eichenberger" userId="728f4d23-4a61-4401-9315-f0ce5ffabd34" providerId="ADAL" clId="{BC88A3FC-46FA-4387-A40D-ED70483EB222}" dt="2023-09-17T13:00:27.203" v="1" actId="478"/>
          <ac:spMkLst>
            <pc:docMk/>
            <pc:sldMk cId="2492240993" sldId="288"/>
            <ac:spMk id="6" creationId="{00000000-0000-0000-0000-000000000000}"/>
          </ac:spMkLst>
        </pc:spChg>
        <pc:spChg chg="add mod">
          <ac:chgData name="Peter Eichenberger" userId="728f4d23-4a61-4401-9315-f0ce5ffabd34" providerId="ADAL" clId="{BC88A3FC-46FA-4387-A40D-ED70483EB222}" dt="2023-09-17T13:00:24.873" v="0" actId="478"/>
          <ac:spMkLst>
            <pc:docMk/>
            <pc:sldMk cId="2492240993" sldId="288"/>
            <ac:spMk id="8" creationId="{06EEC538-A353-FDFC-656D-F95CC2F8877C}"/>
          </ac:spMkLst>
        </pc:spChg>
      </pc:sldChg>
      <pc:sldChg chg="addSp delSp modSp mod">
        <pc:chgData name="Peter Eichenberger" userId="728f4d23-4a61-4401-9315-f0ce5ffabd34" providerId="ADAL" clId="{BC88A3FC-46FA-4387-A40D-ED70483EB222}" dt="2023-09-17T13:32:46.439" v="463" actId="20577"/>
        <pc:sldMkLst>
          <pc:docMk/>
          <pc:sldMk cId="3749842885" sldId="307"/>
        </pc:sldMkLst>
        <pc:spChg chg="mod">
          <ac:chgData name="Peter Eichenberger" userId="728f4d23-4a61-4401-9315-f0ce5ffabd34" providerId="ADAL" clId="{BC88A3FC-46FA-4387-A40D-ED70483EB222}" dt="2023-09-17T13:27:15.314" v="202" actId="948"/>
          <ac:spMkLst>
            <pc:docMk/>
            <pc:sldMk cId="3749842885" sldId="307"/>
            <ac:spMk id="5" creationId="{00000000-0000-0000-0000-000000000000}"/>
          </ac:spMkLst>
        </pc:spChg>
        <pc:spChg chg="mod">
          <ac:chgData name="Peter Eichenberger" userId="728f4d23-4a61-4401-9315-f0ce5ffabd34" providerId="ADAL" clId="{BC88A3FC-46FA-4387-A40D-ED70483EB222}" dt="2023-09-17T13:32:46.439" v="463" actId="20577"/>
          <ac:spMkLst>
            <pc:docMk/>
            <pc:sldMk cId="3749842885" sldId="307"/>
            <ac:spMk id="6" creationId="{00000000-0000-0000-0000-000000000000}"/>
          </ac:spMkLst>
        </pc:spChg>
        <pc:spChg chg="add del mod modVis">
          <ac:chgData name="Peter Eichenberger" userId="728f4d23-4a61-4401-9315-f0ce5ffabd34" providerId="ADAL" clId="{BC88A3FC-46FA-4387-A40D-ED70483EB222}" dt="2023-09-17T13:27:10.470" v="168"/>
          <ac:spMkLst>
            <pc:docMk/>
            <pc:sldMk cId="3749842885" sldId="307"/>
            <ac:spMk id="8" creationId="{8BDBEFDF-818A-F3ED-883E-EA5927EF802B}"/>
          </ac:spMkLst>
        </pc:spChg>
        <pc:spChg chg="add del mod modVis">
          <ac:chgData name="Peter Eichenberger" userId="728f4d23-4a61-4401-9315-f0ce5ffabd34" providerId="ADAL" clId="{BC88A3FC-46FA-4387-A40D-ED70483EB222}" dt="2023-09-17T13:27:15.328" v="227"/>
          <ac:spMkLst>
            <pc:docMk/>
            <pc:sldMk cId="3749842885" sldId="307"/>
            <ac:spMk id="10" creationId="{F1D3ACCA-9138-3B96-CD71-27DB3A4E5141}"/>
          </ac:spMkLst>
        </pc:spChg>
        <pc:graphicFrameChg chg="add mod ord modVis replST">
          <ac:chgData name="Peter Eichenberger" userId="728f4d23-4a61-4401-9315-f0ce5ffabd34" providerId="ADAL" clId="{BC88A3FC-46FA-4387-A40D-ED70483EB222}" dt="2023-09-17T13:27:15.330" v="229"/>
          <ac:graphicFrameMkLst>
            <pc:docMk/>
            <pc:sldMk cId="3749842885" sldId="307"/>
            <ac:graphicFrameMk id="9" creationId="{867AD0EF-6BC8-BC71-E232-7EBD223C39F1}"/>
          </ac:graphicFrameMkLst>
        </pc:graphicFrameChg>
      </pc:sldChg>
      <pc:sldChg chg="addSp delSp modSp new add mod">
        <pc:chgData name="Peter Eichenberger" userId="728f4d23-4a61-4401-9315-f0ce5ffabd34" providerId="ADAL" clId="{BC88A3FC-46FA-4387-A40D-ED70483EB222}" dt="2023-09-17T14:05:37.218" v="980" actId="1076"/>
        <pc:sldMkLst>
          <pc:docMk/>
          <pc:sldMk cId="624175464" sldId="605"/>
        </pc:sldMkLst>
        <pc:spChg chg="mod">
          <ac:chgData name="Peter Eichenberger" userId="728f4d23-4a61-4401-9315-f0ce5ffabd34" providerId="ADAL" clId="{BC88A3FC-46FA-4387-A40D-ED70483EB222}" dt="2023-09-17T14:00:56.997" v="896" actId="948"/>
          <ac:spMkLst>
            <pc:docMk/>
            <pc:sldMk cId="624175464" sldId="605"/>
            <ac:spMk id="5" creationId="{3DCF634E-3A0A-522E-4439-B09001E3C64F}"/>
          </ac:spMkLst>
        </pc:spChg>
        <pc:spChg chg="add del">
          <ac:chgData name="Peter Eichenberger" userId="728f4d23-4a61-4401-9315-f0ce5ffabd34" providerId="ADAL" clId="{BC88A3FC-46FA-4387-A40D-ED70483EB222}" dt="2023-09-17T13:36:42.039" v="467" actId="1032"/>
          <ac:spMkLst>
            <pc:docMk/>
            <pc:sldMk cId="624175464" sldId="605"/>
            <ac:spMk id="6" creationId="{4D2C8836-040A-F5A3-78D6-E0CA9DE4C082}"/>
          </ac:spMkLst>
        </pc:spChg>
        <pc:spChg chg="mod">
          <ac:chgData name="Peter Eichenberger" userId="728f4d23-4a61-4401-9315-f0ce5ffabd34" providerId="ADAL" clId="{BC88A3FC-46FA-4387-A40D-ED70483EB222}" dt="2023-09-17T13:24:19.526" v="95" actId="27636"/>
          <ac:spMkLst>
            <pc:docMk/>
            <pc:sldMk cId="624175464" sldId="605"/>
            <ac:spMk id="7" creationId="{06B774B5-E968-4484-6929-D54CDB431303}"/>
          </ac:spMkLst>
        </pc:spChg>
        <pc:spChg chg="add del mod modVis">
          <ac:chgData name="Peter Eichenberger" userId="728f4d23-4a61-4401-9315-f0ce5ffabd34" providerId="ADAL" clId="{BC88A3FC-46FA-4387-A40D-ED70483EB222}" dt="2023-09-17T13:24:19.488" v="79"/>
          <ac:spMkLst>
            <pc:docMk/>
            <pc:sldMk cId="624175464" sldId="605"/>
            <ac:spMk id="8" creationId="{D2FAD08B-EDD8-50FD-7632-74CD8A14393C}"/>
          </ac:spMkLst>
        </pc:spChg>
        <pc:spChg chg="add del mod modVis">
          <ac:chgData name="Peter Eichenberger" userId="728f4d23-4a61-4401-9315-f0ce5ffabd34" providerId="ADAL" clId="{BC88A3FC-46FA-4387-A40D-ED70483EB222}" dt="2023-09-17T13:24:22.191" v="130"/>
          <ac:spMkLst>
            <pc:docMk/>
            <pc:sldMk cId="624175464" sldId="605"/>
            <ac:spMk id="10" creationId="{FBF63822-7835-3D9C-C041-2F40E27951E3}"/>
          </ac:spMkLst>
        </pc:spChg>
        <pc:spChg chg="add mod">
          <ac:chgData name="Peter Eichenberger" userId="728f4d23-4a61-4401-9315-f0ce5ffabd34" providerId="ADAL" clId="{BC88A3FC-46FA-4387-A40D-ED70483EB222}" dt="2023-09-17T14:03:00.790" v="933" actId="1076"/>
          <ac:spMkLst>
            <pc:docMk/>
            <pc:sldMk cId="624175464" sldId="605"/>
            <ac:spMk id="14" creationId="{6197DAB5-DED0-50AE-495F-4CFAD3F7F77C}"/>
          </ac:spMkLst>
        </pc:spChg>
        <pc:spChg chg="add mod">
          <ac:chgData name="Peter Eichenberger" userId="728f4d23-4a61-4401-9315-f0ce5ffabd34" providerId="ADAL" clId="{BC88A3FC-46FA-4387-A40D-ED70483EB222}" dt="2023-09-17T14:02:29.511" v="923" actId="1076"/>
          <ac:spMkLst>
            <pc:docMk/>
            <pc:sldMk cId="624175464" sldId="605"/>
            <ac:spMk id="15" creationId="{C231898A-EA9A-D058-C5CE-397559BC72BE}"/>
          </ac:spMkLst>
        </pc:spChg>
        <pc:spChg chg="add mod">
          <ac:chgData name="Peter Eichenberger" userId="728f4d23-4a61-4401-9315-f0ce5ffabd34" providerId="ADAL" clId="{BC88A3FC-46FA-4387-A40D-ED70483EB222}" dt="2023-09-17T14:02:54.857" v="931" actId="1076"/>
          <ac:spMkLst>
            <pc:docMk/>
            <pc:sldMk cId="624175464" sldId="605"/>
            <ac:spMk id="16" creationId="{5425607F-148C-ED92-BB63-E7F100AE45C4}"/>
          </ac:spMkLst>
        </pc:spChg>
        <pc:spChg chg="add del mod modVis">
          <ac:chgData name="Peter Eichenberger" userId="728f4d23-4a61-4401-9315-f0ce5ffabd34" providerId="ADAL" clId="{BC88A3FC-46FA-4387-A40D-ED70483EB222}" dt="2023-09-17T13:50:18.167" v="617"/>
          <ac:spMkLst>
            <pc:docMk/>
            <pc:sldMk cId="624175464" sldId="605"/>
            <ac:spMk id="17" creationId="{766D4B72-4A50-F03D-73B5-5225856335B2}"/>
          </ac:spMkLst>
        </pc:spChg>
        <pc:spChg chg="add del mod modVis">
          <ac:chgData name="Peter Eichenberger" userId="728f4d23-4a61-4401-9315-f0ce5ffabd34" providerId="ADAL" clId="{BC88A3FC-46FA-4387-A40D-ED70483EB222}" dt="2023-09-17T13:50:22.180" v="656"/>
          <ac:spMkLst>
            <pc:docMk/>
            <pc:sldMk cId="624175464" sldId="605"/>
            <ac:spMk id="18" creationId="{428FB0D1-4BAA-E190-E970-641D9FC6ABA5}"/>
          </ac:spMkLst>
        </pc:spChg>
        <pc:spChg chg="add mod">
          <ac:chgData name="Peter Eichenberger" userId="728f4d23-4a61-4401-9315-f0ce5ffabd34" providerId="ADAL" clId="{BC88A3FC-46FA-4387-A40D-ED70483EB222}" dt="2023-09-17T14:03:15.858" v="938" actId="255"/>
          <ac:spMkLst>
            <pc:docMk/>
            <pc:sldMk cId="624175464" sldId="605"/>
            <ac:spMk id="19" creationId="{B53B5E0E-E278-54CD-9748-C1FCC75A33A3}"/>
          </ac:spMkLst>
        </pc:spChg>
        <pc:spChg chg="add mod">
          <ac:chgData name="Peter Eichenberger" userId="728f4d23-4a61-4401-9315-f0ce5ffabd34" providerId="ADAL" clId="{BC88A3FC-46FA-4387-A40D-ED70483EB222}" dt="2023-09-17T14:05:00.476" v="964" actId="1076"/>
          <ac:spMkLst>
            <pc:docMk/>
            <pc:sldMk cId="624175464" sldId="605"/>
            <ac:spMk id="20" creationId="{98E2B6D1-851B-BFFB-F44E-0D8C51EBB3EB}"/>
          </ac:spMkLst>
        </pc:spChg>
        <pc:spChg chg="add mod">
          <ac:chgData name="Peter Eichenberger" userId="728f4d23-4a61-4401-9315-f0ce5ffabd34" providerId="ADAL" clId="{BC88A3FC-46FA-4387-A40D-ED70483EB222}" dt="2023-09-17T14:05:08.204" v="966" actId="1076"/>
          <ac:spMkLst>
            <pc:docMk/>
            <pc:sldMk cId="624175464" sldId="605"/>
            <ac:spMk id="21" creationId="{91C5B12D-BA56-03AB-A539-7EE244BB30F0}"/>
          </ac:spMkLst>
        </pc:spChg>
        <pc:spChg chg="add mod">
          <ac:chgData name="Peter Eichenberger" userId="728f4d23-4a61-4401-9315-f0ce5ffabd34" providerId="ADAL" clId="{BC88A3FC-46FA-4387-A40D-ED70483EB222}" dt="2023-09-17T14:05:10.645" v="967" actId="1076"/>
          <ac:spMkLst>
            <pc:docMk/>
            <pc:sldMk cId="624175464" sldId="605"/>
            <ac:spMk id="22" creationId="{53D79028-94BE-8E68-181C-DDE367D01970}"/>
          </ac:spMkLst>
        </pc:spChg>
        <pc:spChg chg="add mod">
          <ac:chgData name="Peter Eichenberger" userId="728f4d23-4a61-4401-9315-f0ce5ffabd34" providerId="ADAL" clId="{BC88A3FC-46FA-4387-A40D-ED70483EB222}" dt="2023-09-17T14:03:06.350" v="935" actId="1076"/>
          <ac:spMkLst>
            <pc:docMk/>
            <pc:sldMk cId="624175464" sldId="605"/>
            <ac:spMk id="23" creationId="{2279DB0B-929F-C939-BC76-EC8C8E600B8C}"/>
          </ac:spMkLst>
        </pc:spChg>
        <pc:spChg chg="add del mod">
          <ac:chgData name="Peter Eichenberger" userId="728f4d23-4a61-4401-9315-f0ce5ffabd34" providerId="ADAL" clId="{BC88A3FC-46FA-4387-A40D-ED70483EB222}" dt="2023-09-17T13:57:12.181" v="834" actId="478"/>
          <ac:spMkLst>
            <pc:docMk/>
            <pc:sldMk cId="624175464" sldId="605"/>
            <ac:spMk id="25" creationId="{FE83A1A6-54A3-0DF6-379C-9AB77E4026BA}"/>
          </ac:spMkLst>
        </pc:spChg>
        <pc:spChg chg="add mod">
          <ac:chgData name="Peter Eichenberger" userId="728f4d23-4a61-4401-9315-f0ce5ffabd34" providerId="ADAL" clId="{BC88A3FC-46FA-4387-A40D-ED70483EB222}" dt="2023-09-17T14:05:21.915" v="979" actId="1076"/>
          <ac:spMkLst>
            <pc:docMk/>
            <pc:sldMk cId="624175464" sldId="605"/>
            <ac:spMk id="28" creationId="{E8F53415-2E2C-7372-92C0-B3EE5D457461}"/>
          </ac:spMkLst>
        </pc:spChg>
        <pc:graphicFrameChg chg="add mod ord modVis replST">
          <ac:chgData name="Peter Eichenberger" userId="728f4d23-4a61-4401-9315-f0ce5ffabd34" providerId="ADAL" clId="{BC88A3FC-46FA-4387-A40D-ED70483EB222}" dt="2023-09-17T14:00:57.001" v="900"/>
          <ac:graphicFrameMkLst>
            <pc:docMk/>
            <pc:sldMk cId="624175464" sldId="605"/>
            <ac:graphicFrameMk id="9" creationId="{EF9E0672-082A-F695-ED15-71FE4BE854E3}"/>
          </ac:graphicFrameMkLst>
        </pc:graphicFrameChg>
        <pc:graphicFrameChg chg="add del mod">
          <ac:chgData name="Peter Eichenberger" userId="728f4d23-4a61-4401-9315-f0ce5ffabd34" providerId="ADAL" clId="{BC88A3FC-46FA-4387-A40D-ED70483EB222}" dt="2023-09-17T13:36:06.838" v="466"/>
          <ac:graphicFrameMkLst>
            <pc:docMk/>
            <pc:sldMk cId="624175464" sldId="605"/>
            <ac:graphicFrameMk id="11" creationId="{9ACCD410-67CD-AE90-E1FB-3F69246100B1}"/>
          </ac:graphicFrameMkLst>
        </pc:graphicFrameChg>
        <pc:graphicFrameChg chg="add del mod modGraphic">
          <ac:chgData name="Peter Eichenberger" userId="728f4d23-4a61-4401-9315-f0ce5ffabd34" providerId="ADAL" clId="{BC88A3FC-46FA-4387-A40D-ED70483EB222}" dt="2023-09-17T13:57:09.347" v="833" actId="478"/>
          <ac:graphicFrameMkLst>
            <pc:docMk/>
            <pc:sldMk cId="624175464" sldId="605"/>
            <ac:graphicFrameMk id="12" creationId="{6ABFC885-B168-9992-F9D8-0978BC310ACA}"/>
          </ac:graphicFrameMkLst>
        </pc:graphicFrameChg>
        <pc:picChg chg="add mod">
          <ac:chgData name="Peter Eichenberger" userId="728f4d23-4a61-4401-9315-f0ce5ffabd34" providerId="ADAL" clId="{BC88A3FC-46FA-4387-A40D-ED70483EB222}" dt="2023-09-17T14:01:33.303" v="908" actId="1076"/>
          <ac:picMkLst>
            <pc:docMk/>
            <pc:sldMk cId="624175464" sldId="605"/>
            <ac:picMk id="13" creationId="{2286A586-9EED-9E96-16F8-EF5662E68137}"/>
          </ac:picMkLst>
        </pc:picChg>
        <pc:picChg chg="add mod">
          <ac:chgData name="Peter Eichenberger" userId="728f4d23-4a61-4401-9315-f0ce5ffabd34" providerId="ADAL" clId="{BC88A3FC-46FA-4387-A40D-ED70483EB222}" dt="2023-09-17T14:02:10.431" v="914" actId="1076"/>
          <ac:picMkLst>
            <pc:docMk/>
            <pc:sldMk cId="624175464" sldId="605"/>
            <ac:picMk id="26" creationId="{A87789E2-6FBD-218F-5012-AEB25A53F381}"/>
          </ac:picMkLst>
        </pc:picChg>
        <pc:picChg chg="add mod">
          <ac:chgData name="Peter Eichenberger" userId="728f4d23-4a61-4401-9315-f0ce5ffabd34" providerId="ADAL" clId="{BC88A3FC-46FA-4387-A40D-ED70483EB222}" dt="2023-09-17T14:05:37.218" v="980" actId="1076"/>
          <ac:picMkLst>
            <pc:docMk/>
            <pc:sldMk cId="624175464" sldId="605"/>
            <ac:picMk id="27" creationId="{1660833E-3C0A-C873-2740-35E4E3BDD8AF}"/>
          </ac:picMkLst>
        </pc:picChg>
        <pc:picChg chg="add mod">
          <ac:chgData name="Peter Eichenberger" userId="728f4d23-4a61-4401-9315-f0ce5ffabd34" providerId="ADAL" clId="{BC88A3FC-46FA-4387-A40D-ED70483EB222}" dt="2023-09-17T14:02:02.669" v="911" actId="1076"/>
          <ac:picMkLst>
            <pc:docMk/>
            <pc:sldMk cId="624175464" sldId="605"/>
            <ac:picMk id="1026" creationId="{31DD0528-90BC-C607-C590-A16119E4C81B}"/>
          </ac:picMkLst>
        </pc:picChg>
        <pc:picChg chg="add del mod">
          <ac:chgData name="Peter Eichenberger" userId="728f4d23-4a61-4401-9315-f0ce5ffabd34" providerId="ADAL" clId="{BC88A3FC-46FA-4387-A40D-ED70483EB222}" dt="2023-09-17T14:04:48.085" v="962" actId="478"/>
          <ac:picMkLst>
            <pc:docMk/>
            <pc:sldMk cId="624175464" sldId="605"/>
            <ac:picMk id="1028" creationId="{6DBB1639-2BBD-FA48-21DD-4DCF008506ED}"/>
          </ac:picMkLst>
        </pc:picChg>
      </pc:sldChg>
      <pc:sldMasterChg chg="addSp delSp modSp mod">
        <pc:chgData name="Peter Eichenberger" userId="728f4d23-4a61-4401-9315-f0ce5ffabd34" providerId="ADAL" clId="{BC88A3FC-46FA-4387-A40D-ED70483EB222}" dt="2023-09-17T13:24:19.487" v="77"/>
        <pc:sldMasterMkLst>
          <pc:docMk/>
          <pc:sldMasterMk cId="3256726509" sldId="2147483842"/>
        </pc:sldMasterMkLst>
        <pc:spChg chg="add del mod modVis">
          <ac:chgData name="Peter Eichenberger" userId="728f4d23-4a61-4401-9315-f0ce5ffabd34" providerId="ADAL" clId="{BC88A3FC-46FA-4387-A40D-ED70483EB222}" dt="2023-09-17T13:24:19.462" v="62"/>
          <ac:spMkLst>
            <pc:docMk/>
            <pc:sldMasterMk cId="3256726509" sldId="2147483842"/>
            <ac:spMk id="3" creationId="{08603148-F8B5-5655-4B51-D82052CC03DF}"/>
          </ac:spMkLst>
        </pc:spChg>
        <pc:spChg chg="mod">
          <ac:chgData name="Peter Eichenberger" userId="728f4d23-4a61-4401-9315-f0ce5ffabd34" providerId="ADAL" clId="{BC88A3FC-46FA-4387-A40D-ED70483EB222}" dt="2023-09-17T13:24:19.426" v="15" actId="948"/>
          <ac:spMkLst>
            <pc:docMk/>
            <pc:sldMasterMk cId="3256726509" sldId="2147483842"/>
            <ac:spMk id="47" creationId="{00000000-0000-0000-0000-000000000000}"/>
          </ac:spMkLst>
        </pc:spChg>
        <pc:graphicFrameChg chg="add mod ord modVis replST">
          <ac:chgData name="Peter Eichenberger" userId="728f4d23-4a61-4401-9315-f0ce5ffabd34" providerId="ADAL" clId="{BC88A3FC-46FA-4387-A40D-ED70483EB222}" dt="2023-09-17T13:24:19.487" v="77"/>
          <ac:graphicFrameMkLst>
            <pc:docMk/>
            <pc:sldMasterMk cId="3256726509" sldId="2147483842"/>
            <ac:graphicFrameMk id="4" creationId="{1A650A54-56AB-8154-6435-7F8F8908E2AE}"/>
          </ac:graphicFrameMkLst>
        </pc:graphicFrameChg>
      </pc:sldMasterChg>
    </pc:docChg>
  </pc:docChgLst>
  <pc:docChgLst>
    <pc:chgData name="Peter Eichenberger" userId="728f4d23-4a61-4401-9315-f0ce5ffabd34" providerId="ADAL" clId="{520AEDBA-0C6E-4517-B32E-18C974D5E688}"/>
    <pc:docChg chg="undo redo custSel addSld delSld modSld sldOrd">
      <pc:chgData name="Peter Eichenberger" userId="728f4d23-4a61-4401-9315-f0ce5ffabd34" providerId="ADAL" clId="{520AEDBA-0C6E-4517-B32E-18C974D5E688}" dt="2023-08-23T12:34:44.278" v="280" actId="27636"/>
      <pc:docMkLst>
        <pc:docMk/>
      </pc:docMkLst>
      <pc:sldChg chg="modSp mod">
        <pc:chgData name="Peter Eichenberger" userId="728f4d23-4a61-4401-9315-f0ce5ffabd34" providerId="ADAL" clId="{520AEDBA-0C6E-4517-B32E-18C974D5E688}" dt="2023-08-23T08:34:58.931" v="121" actId="20577"/>
        <pc:sldMkLst>
          <pc:docMk/>
          <pc:sldMk cId="2492240993" sldId="288"/>
        </pc:sldMkLst>
        <pc:spChg chg="mod">
          <ac:chgData name="Peter Eichenberger" userId="728f4d23-4a61-4401-9315-f0ce5ffabd34" providerId="ADAL" clId="{520AEDBA-0C6E-4517-B32E-18C974D5E688}" dt="2023-08-23T08:34:12.650" v="12" actId="20577"/>
          <ac:spMkLst>
            <pc:docMk/>
            <pc:sldMk cId="2492240993" sldId="288"/>
            <ac:spMk id="2" creationId="{00000000-0000-0000-0000-000000000000}"/>
          </ac:spMkLst>
        </pc:spChg>
        <pc:spChg chg="mod">
          <ac:chgData name="Peter Eichenberger" userId="728f4d23-4a61-4401-9315-f0ce5ffabd34" providerId="ADAL" clId="{520AEDBA-0C6E-4517-B32E-18C974D5E688}" dt="2023-08-23T08:34:58.931" v="121" actId="20577"/>
          <ac:spMkLst>
            <pc:docMk/>
            <pc:sldMk cId="2492240993" sldId="288"/>
            <ac:spMk id="3" creationId="{00000000-0000-0000-0000-000000000000}"/>
          </ac:spMkLst>
        </pc:spChg>
        <pc:spChg chg="mod">
          <ac:chgData name="Peter Eichenberger" userId="728f4d23-4a61-4401-9315-f0ce5ffabd34" providerId="ADAL" clId="{520AEDBA-0C6E-4517-B32E-18C974D5E688}" dt="2023-08-23T08:34:19.095" v="38" actId="20577"/>
          <ac:spMkLst>
            <pc:docMk/>
            <pc:sldMk cId="2492240993" sldId="288"/>
            <ac:spMk id="4" creationId="{00000000-0000-0000-0000-000000000000}"/>
          </ac:spMkLst>
        </pc:spChg>
        <pc:spChg chg="mod">
          <ac:chgData name="Peter Eichenberger" userId="728f4d23-4a61-4401-9315-f0ce5ffabd34" providerId="ADAL" clId="{520AEDBA-0C6E-4517-B32E-18C974D5E688}" dt="2023-08-23T08:34:47.156" v="78" actId="20577"/>
          <ac:spMkLst>
            <pc:docMk/>
            <pc:sldMk cId="2492240993" sldId="288"/>
            <ac:spMk id="5" creationId="{00000000-0000-0000-0000-000000000000}"/>
          </ac:spMkLst>
        </pc:spChg>
      </pc:sldChg>
      <pc:sldChg chg="modSp mod">
        <pc:chgData name="Peter Eichenberger" userId="728f4d23-4a61-4401-9315-f0ce5ffabd34" providerId="ADAL" clId="{520AEDBA-0C6E-4517-B32E-18C974D5E688}" dt="2023-08-23T08:42:59.967" v="144" actId="20577"/>
        <pc:sldMkLst>
          <pc:docMk/>
          <pc:sldMk cId="1529263819" sldId="289"/>
        </pc:sldMkLst>
        <pc:spChg chg="mod">
          <ac:chgData name="Peter Eichenberger" userId="728f4d23-4a61-4401-9315-f0ce5ffabd34" providerId="ADAL" clId="{520AEDBA-0C6E-4517-B32E-18C974D5E688}" dt="2023-08-23T08:42:59.967" v="144" actId="20577"/>
          <ac:spMkLst>
            <pc:docMk/>
            <pc:sldMk cId="1529263819" sldId="289"/>
            <ac:spMk id="25" creationId="{00000000-0000-0000-0000-000000000000}"/>
          </ac:spMkLst>
        </pc:spChg>
      </pc:sldChg>
      <pc:sldChg chg="del">
        <pc:chgData name="Peter Eichenberger" userId="728f4d23-4a61-4401-9315-f0ce5ffabd34" providerId="ADAL" clId="{520AEDBA-0C6E-4517-B32E-18C974D5E688}" dt="2023-08-23T08:43:03.956" v="145" actId="47"/>
        <pc:sldMkLst>
          <pc:docMk/>
          <pc:sldMk cId="2670209583" sldId="291"/>
        </pc:sldMkLst>
      </pc:sldChg>
      <pc:sldChg chg="del">
        <pc:chgData name="Peter Eichenberger" userId="728f4d23-4a61-4401-9315-f0ce5ffabd34" providerId="ADAL" clId="{520AEDBA-0C6E-4517-B32E-18C974D5E688}" dt="2023-08-23T08:35:05.097" v="122" actId="47"/>
        <pc:sldMkLst>
          <pc:docMk/>
          <pc:sldMk cId="222047250" sldId="303"/>
        </pc:sldMkLst>
      </pc:sldChg>
      <pc:sldChg chg="del">
        <pc:chgData name="Peter Eichenberger" userId="728f4d23-4a61-4401-9315-f0ce5ffabd34" providerId="ADAL" clId="{520AEDBA-0C6E-4517-B32E-18C974D5E688}" dt="2023-08-23T08:35:05.097" v="122" actId="47"/>
        <pc:sldMkLst>
          <pc:docMk/>
          <pc:sldMk cId="398969899" sldId="304"/>
        </pc:sldMkLst>
      </pc:sldChg>
      <pc:sldChg chg="del">
        <pc:chgData name="Peter Eichenberger" userId="728f4d23-4a61-4401-9315-f0ce5ffabd34" providerId="ADAL" clId="{520AEDBA-0C6E-4517-B32E-18C974D5E688}" dt="2023-08-23T08:43:03.956" v="145" actId="47"/>
        <pc:sldMkLst>
          <pc:docMk/>
          <pc:sldMk cId="3146504174" sldId="305"/>
        </pc:sldMkLst>
      </pc:sldChg>
      <pc:sldChg chg="del">
        <pc:chgData name="Peter Eichenberger" userId="728f4d23-4a61-4401-9315-f0ce5ffabd34" providerId="ADAL" clId="{520AEDBA-0C6E-4517-B32E-18C974D5E688}" dt="2023-08-23T08:43:03.956" v="145" actId="47"/>
        <pc:sldMkLst>
          <pc:docMk/>
          <pc:sldMk cId="4199897207" sldId="306"/>
        </pc:sldMkLst>
      </pc:sldChg>
      <pc:sldChg chg="ord">
        <pc:chgData name="Peter Eichenberger" userId="728f4d23-4a61-4401-9315-f0ce5ffabd34" providerId="ADAL" clId="{520AEDBA-0C6E-4517-B32E-18C974D5E688}" dt="2023-08-23T08:43:05.545" v="147"/>
        <pc:sldMkLst>
          <pc:docMk/>
          <pc:sldMk cId="3749842885" sldId="307"/>
        </pc:sldMkLst>
      </pc:sldChg>
      <pc:sldChg chg="modSp add mod">
        <pc:chgData name="Peter Eichenberger" userId="728f4d23-4a61-4401-9315-f0ce5ffabd34" providerId="ADAL" clId="{520AEDBA-0C6E-4517-B32E-18C974D5E688}" dt="2023-08-23T12:34:44.278" v="280" actId="27636"/>
        <pc:sldMkLst>
          <pc:docMk/>
          <pc:sldMk cId="549583043" sldId="362"/>
        </pc:sldMkLst>
        <pc:spChg chg="mod">
          <ac:chgData name="Peter Eichenberger" userId="728f4d23-4a61-4401-9315-f0ce5ffabd34" providerId="ADAL" clId="{520AEDBA-0C6E-4517-B32E-18C974D5E688}" dt="2023-08-23T12:34:44.278" v="280" actId="27636"/>
          <ac:spMkLst>
            <pc:docMk/>
            <pc:sldMk cId="549583043" sldId="362"/>
            <ac:spMk id="2" creationId="{57D58146-C86B-4913-835D-3488E9F0C97F}"/>
          </ac:spMkLst>
        </pc:spChg>
      </pc:sldChg>
      <pc:sldChg chg="modSp add mod">
        <pc:chgData name="Peter Eichenberger" userId="728f4d23-4a61-4401-9315-f0ce5ffabd34" providerId="ADAL" clId="{520AEDBA-0C6E-4517-B32E-18C974D5E688}" dt="2023-08-23T12:22:45.186" v="236" actId="27636"/>
        <pc:sldMkLst>
          <pc:docMk/>
          <pc:sldMk cId="665999254" sldId="484"/>
        </pc:sldMkLst>
        <pc:spChg chg="mod">
          <ac:chgData name="Peter Eichenberger" userId="728f4d23-4a61-4401-9315-f0ce5ffabd34" providerId="ADAL" clId="{520AEDBA-0C6E-4517-B32E-18C974D5E688}" dt="2023-08-23T12:22:45.186" v="236" actId="27636"/>
          <ac:spMkLst>
            <pc:docMk/>
            <pc:sldMk cId="665999254" sldId="484"/>
            <ac:spMk id="6" creationId="{C69F5DAF-253E-4F2A-B700-9053E1EC4A0B}"/>
          </ac:spMkLst>
        </pc:spChg>
        <pc:spChg chg="mod">
          <ac:chgData name="Peter Eichenberger" userId="728f4d23-4a61-4401-9315-f0ce5ffabd34" providerId="ADAL" clId="{520AEDBA-0C6E-4517-B32E-18C974D5E688}" dt="2023-08-23T12:22:45.183" v="235" actId="27636"/>
          <ac:spMkLst>
            <pc:docMk/>
            <pc:sldMk cId="665999254" sldId="484"/>
            <ac:spMk id="7" creationId="{AE187A99-04CA-4139-A26D-B25A50BD792C}"/>
          </ac:spMkLst>
        </pc:spChg>
      </pc:sldChg>
      <pc:sldChg chg="add">
        <pc:chgData name="Peter Eichenberger" userId="728f4d23-4a61-4401-9315-f0ce5ffabd34" providerId="ADAL" clId="{520AEDBA-0C6E-4517-B32E-18C974D5E688}" dt="2023-08-23T12:14:34.551" v="150"/>
        <pc:sldMkLst>
          <pc:docMk/>
          <pc:sldMk cId="2946829998" sldId="513"/>
        </pc:sldMkLst>
      </pc:sldChg>
      <pc:sldChg chg="modSp add mod">
        <pc:chgData name="Peter Eichenberger" userId="728f4d23-4a61-4401-9315-f0ce5ffabd34" providerId="ADAL" clId="{520AEDBA-0C6E-4517-B32E-18C974D5E688}" dt="2023-08-23T12:14:34.603" v="151" actId="27636"/>
        <pc:sldMkLst>
          <pc:docMk/>
          <pc:sldMk cId="530915191" sldId="514"/>
        </pc:sldMkLst>
        <pc:spChg chg="mod">
          <ac:chgData name="Peter Eichenberger" userId="728f4d23-4a61-4401-9315-f0ce5ffabd34" providerId="ADAL" clId="{520AEDBA-0C6E-4517-B32E-18C974D5E688}" dt="2023-08-23T12:14:34.603" v="151" actId="27636"/>
          <ac:spMkLst>
            <pc:docMk/>
            <pc:sldMk cId="530915191" sldId="514"/>
            <ac:spMk id="3" creationId="{00000000-0000-0000-0000-000000000000}"/>
          </ac:spMkLst>
        </pc:spChg>
      </pc:sldChg>
      <pc:sldChg chg="modSp add mod">
        <pc:chgData name="Peter Eichenberger" userId="728f4d23-4a61-4401-9315-f0ce5ffabd34" providerId="ADAL" clId="{520AEDBA-0C6E-4517-B32E-18C974D5E688}" dt="2023-08-23T12:14:34.606" v="152" actId="27636"/>
        <pc:sldMkLst>
          <pc:docMk/>
          <pc:sldMk cId="991608520" sldId="516"/>
        </pc:sldMkLst>
        <pc:spChg chg="mod">
          <ac:chgData name="Peter Eichenberger" userId="728f4d23-4a61-4401-9315-f0ce5ffabd34" providerId="ADAL" clId="{520AEDBA-0C6E-4517-B32E-18C974D5E688}" dt="2023-08-23T12:14:34.606" v="152" actId="27636"/>
          <ac:spMkLst>
            <pc:docMk/>
            <pc:sldMk cId="991608520" sldId="516"/>
            <ac:spMk id="6" creationId="{00000000-0000-0000-0000-000000000000}"/>
          </ac:spMkLst>
        </pc:spChg>
      </pc:sldChg>
      <pc:sldChg chg="modSp add mod">
        <pc:chgData name="Peter Eichenberger" userId="728f4d23-4a61-4401-9315-f0ce5ffabd34" providerId="ADAL" clId="{520AEDBA-0C6E-4517-B32E-18C974D5E688}" dt="2023-08-23T12:15:12.951" v="154" actId="27636"/>
        <pc:sldMkLst>
          <pc:docMk/>
          <pc:sldMk cId="1797655856" sldId="522"/>
        </pc:sldMkLst>
        <pc:spChg chg="mod">
          <ac:chgData name="Peter Eichenberger" userId="728f4d23-4a61-4401-9315-f0ce5ffabd34" providerId="ADAL" clId="{520AEDBA-0C6E-4517-B32E-18C974D5E688}" dt="2023-08-23T12:15:12.951" v="154" actId="27636"/>
          <ac:spMkLst>
            <pc:docMk/>
            <pc:sldMk cId="1797655856" sldId="522"/>
            <ac:spMk id="9" creationId="{00000000-0000-0000-0000-000000000000}"/>
          </ac:spMkLst>
        </pc:spChg>
      </pc:sldChg>
      <pc:sldChg chg="modSp add mod">
        <pc:chgData name="Peter Eichenberger" userId="728f4d23-4a61-4401-9315-f0ce5ffabd34" providerId="ADAL" clId="{520AEDBA-0C6E-4517-B32E-18C974D5E688}" dt="2023-08-23T12:28:15.881" v="257" actId="27636"/>
        <pc:sldMkLst>
          <pc:docMk/>
          <pc:sldMk cId="4120692599" sldId="526"/>
        </pc:sldMkLst>
        <pc:spChg chg="mod">
          <ac:chgData name="Peter Eichenberger" userId="728f4d23-4a61-4401-9315-f0ce5ffabd34" providerId="ADAL" clId="{520AEDBA-0C6E-4517-B32E-18C974D5E688}" dt="2023-08-23T12:28:15.878" v="256" actId="27636"/>
          <ac:spMkLst>
            <pc:docMk/>
            <pc:sldMk cId="4120692599" sldId="526"/>
            <ac:spMk id="11" creationId="{00000000-0000-0000-0000-000000000000}"/>
          </ac:spMkLst>
        </pc:spChg>
        <pc:spChg chg="mod">
          <ac:chgData name="Peter Eichenberger" userId="728f4d23-4a61-4401-9315-f0ce5ffabd34" providerId="ADAL" clId="{520AEDBA-0C6E-4517-B32E-18C974D5E688}" dt="2023-08-23T12:28:15.881" v="257" actId="27636"/>
          <ac:spMkLst>
            <pc:docMk/>
            <pc:sldMk cId="4120692599" sldId="526"/>
            <ac:spMk id="12" creationId="{00000000-0000-0000-0000-000000000000}"/>
          </ac:spMkLst>
        </pc:spChg>
      </pc:sldChg>
      <pc:sldChg chg="modSp add mod">
        <pc:chgData name="Peter Eichenberger" userId="728f4d23-4a61-4401-9315-f0ce5ffabd34" providerId="ADAL" clId="{520AEDBA-0C6E-4517-B32E-18C974D5E688}" dt="2023-08-23T12:15:12.968" v="155" actId="27636"/>
        <pc:sldMkLst>
          <pc:docMk/>
          <pc:sldMk cId="3888952737" sldId="528"/>
        </pc:sldMkLst>
        <pc:spChg chg="mod">
          <ac:chgData name="Peter Eichenberger" userId="728f4d23-4a61-4401-9315-f0ce5ffabd34" providerId="ADAL" clId="{520AEDBA-0C6E-4517-B32E-18C974D5E688}" dt="2023-08-23T12:15:12.968" v="155" actId="27636"/>
          <ac:spMkLst>
            <pc:docMk/>
            <pc:sldMk cId="3888952737" sldId="528"/>
            <ac:spMk id="8" creationId="{00000000-0000-0000-0000-000000000000}"/>
          </ac:spMkLst>
        </pc:spChg>
      </pc:sldChg>
      <pc:sldChg chg="modSp add mod">
        <pc:chgData name="Peter Eichenberger" userId="728f4d23-4a61-4401-9315-f0ce5ffabd34" providerId="ADAL" clId="{520AEDBA-0C6E-4517-B32E-18C974D5E688}" dt="2023-08-23T12:23:06.819" v="241" actId="27636"/>
        <pc:sldMkLst>
          <pc:docMk/>
          <pc:sldMk cId="2460050842" sldId="531"/>
        </pc:sldMkLst>
        <pc:spChg chg="mod">
          <ac:chgData name="Peter Eichenberger" userId="728f4d23-4a61-4401-9315-f0ce5ffabd34" providerId="ADAL" clId="{520AEDBA-0C6E-4517-B32E-18C974D5E688}" dt="2023-08-23T12:23:06.819" v="241" actId="27636"/>
          <ac:spMkLst>
            <pc:docMk/>
            <pc:sldMk cId="2460050842" sldId="531"/>
            <ac:spMk id="7" creationId="{00000000-0000-0000-0000-000000000000}"/>
          </ac:spMkLst>
        </pc:spChg>
      </pc:sldChg>
      <pc:sldChg chg="modSp add mod">
        <pc:chgData name="Peter Eichenberger" userId="728f4d23-4a61-4401-9315-f0ce5ffabd34" providerId="ADAL" clId="{520AEDBA-0C6E-4517-B32E-18C974D5E688}" dt="2023-08-23T12:23:18.270" v="243" actId="27636"/>
        <pc:sldMkLst>
          <pc:docMk/>
          <pc:sldMk cId="2815536250" sldId="532"/>
        </pc:sldMkLst>
        <pc:spChg chg="mod">
          <ac:chgData name="Peter Eichenberger" userId="728f4d23-4a61-4401-9315-f0ce5ffabd34" providerId="ADAL" clId="{520AEDBA-0C6E-4517-B32E-18C974D5E688}" dt="2023-08-23T12:23:18.270" v="243" actId="27636"/>
          <ac:spMkLst>
            <pc:docMk/>
            <pc:sldMk cId="2815536250" sldId="532"/>
            <ac:spMk id="6" creationId="{00000000-0000-0000-0000-000000000000}"/>
          </ac:spMkLst>
        </pc:spChg>
      </pc:sldChg>
      <pc:sldChg chg="modSp add mod">
        <pc:chgData name="Peter Eichenberger" userId="728f4d23-4a61-4401-9315-f0ce5ffabd34" providerId="ADAL" clId="{520AEDBA-0C6E-4517-B32E-18C974D5E688}" dt="2023-08-23T12:13:44.666" v="149" actId="27636"/>
        <pc:sldMkLst>
          <pc:docMk/>
          <pc:sldMk cId="1753176234" sldId="536"/>
        </pc:sldMkLst>
        <pc:spChg chg="mod">
          <ac:chgData name="Peter Eichenberger" userId="728f4d23-4a61-4401-9315-f0ce5ffabd34" providerId="ADAL" clId="{520AEDBA-0C6E-4517-B32E-18C974D5E688}" dt="2023-08-23T12:13:44.666" v="149" actId="27636"/>
          <ac:spMkLst>
            <pc:docMk/>
            <pc:sldMk cId="1753176234" sldId="536"/>
            <ac:spMk id="7" creationId="{00000000-0000-0000-0000-000000000000}"/>
          </ac:spMkLst>
        </pc:spChg>
      </pc:sldChg>
      <pc:sldChg chg="modSp add mod">
        <pc:chgData name="Peter Eichenberger" userId="728f4d23-4a61-4401-9315-f0ce5ffabd34" providerId="ADAL" clId="{520AEDBA-0C6E-4517-B32E-18C974D5E688}" dt="2023-08-23T12:16:02.322" v="157" actId="27636"/>
        <pc:sldMkLst>
          <pc:docMk/>
          <pc:sldMk cId="1938417464" sldId="553"/>
        </pc:sldMkLst>
        <pc:spChg chg="mod">
          <ac:chgData name="Peter Eichenberger" userId="728f4d23-4a61-4401-9315-f0ce5ffabd34" providerId="ADAL" clId="{520AEDBA-0C6E-4517-B32E-18C974D5E688}" dt="2023-08-23T12:16:02.322" v="157" actId="27636"/>
          <ac:spMkLst>
            <pc:docMk/>
            <pc:sldMk cId="1938417464" sldId="553"/>
            <ac:spMk id="7" creationId="{00000000-0000-0000-0000-000000000000}"/>
          </ac:spMkLst>
        </pc:spChg>
      </pc:sldChg>
      <pc:sldChg chg="modSp add mod">
        <pc:chgData name="Peter Eichenberger" userId="728f4d23-4a61-4401-9315-f0ce5ffabd34" providerId="ADAL" clId="{520AEDBA-0C6E-4517-B32E-18C974D5E688}" dt="2023-08-23T12:28:15.862" v="252" actId="27636"/>
        <pc:sldMkLst>
          <pc:docMk/>
          <pc:sldMk cId="4046813708" sldId="554"/>
        </pc:sldMkLst>
        <pc:spChg chg="mod">
          <ac:chgData name="Peter Eichenberger" userId="728f4d23-4a61-4401-9315-f0ce5ffabd34" providerId="ADAL" clId="{520AEDBA-0C6E-4517-B32E-18C974D5E688}" dt="2023-08-23T12:28:15.862" v="252" actId="27636"/>
          <ac:spMkLst>
            <pc:docMk/>
            <pc:sldMk cId="4046813708" sldId="554"/>
            <ac:spMk id="7" creationId="{00000000-0000-0000-0000-000000000000}"/>
          </ac:spMkLst>
        </pc:spChg>
      </pc:sldChg>
      <pc:sldChg chg="modSp add mod">
        <pc:chgData name="Peter Eichenberger" userId="728f4d23-4a61-4401-9315-f0ce5ffabd34" providerId="ADAL" clId="{520AEDBA-0C6E-4517-B32E-18C974D5E688}" dt="2023-08-23T12:28:15.868" v="254" actId="27636"/>
        <pc:sldMkLst>
          <pc:docMk/>
          <pc:sldMk cId="735671568" sldId="555"/>
        </pc:sldMkLst>
        <pc:spChg chg="mod">
          <ac:chgData name="Peter Eichenberger" userId="728f4d23-4a61-4401-9315-f0ce5ffabd34" providerId="ADAL" clId="{520AEDBA-0C6E-4517-B32E-18C974D5E688}" dt="2023-08-23T12:28:15.868" v="254" actId="27636"/>
          <ac:spMkLst>
            <pc:docMk/>
            <pc:sldMk cId="735671568" sldId="555"/>
            <ac:spMk id="6" creationId="{00000000-0000-0000-0000-000000000000}"/>
          </ac:spMkLst>
        </pc:spChg>
        <pc:spChg chg="mod">
          <ac:chgData name="Peter Eichenberger" userId="728f4d23-4a61-4401-9315-f0ce5ffabd34" providerId="ADAL" clId="{520AEDBA-0C6E-4517-B32E-18C974D5E688}" dt="2023-08-23T12:28:15.864" v="253" actId="27636"/>
          <ac:spMkLst>
            <pc:docMk/>
            <pc:sldMk cId="735671568" sldId="555"/>
            <ac:spMk id="7" creationId="{00000000-0000-0000-0000-000000000000}"/>
          </ac:spMkLst>
        </pc:spChg>
      </pc:sldChg>
      <pc:sldChg chg="add">
        <pc:chgData name="Peter Eichenberger" userId="728f4d23-4a61-4401-9315-f0ce5ffabd34" providerId="ADAL" clId="{520AEDBA-0C6E-4517-B32E-18C974D5E688}" dt="2023-08-23T12:16:49.545" v="158"/>
        <pc:sldMkLst>
          <pc:docMk/>
          <pc:sldMk cId="1128892017" sldId="558"/>
        </pc:sldMkLst>
      </pc:sldChg>
      <pc:sldChg chg="modSp add mod">
        <pc:chgData name="Peter Eichenberger" userId="728f4d23-4a61-4401-9315-f0ce5ffabd34" providerId="ADAL" clId="{520AEDBA-0C6E-4517-B32E-18C974D5E688}" dt="2023-08-23T12:16:49.568" v="159" actId="27636"/>
        <pc:sldMkLst>
          <pc:docMk/>
          <pc:sldMk cId="1122339693" sldId="559"/>
        </pc:sldMkLst>
        <pc:spChg chg="mod">
          <ac:chgData name="Peter Eichenberger" userId="728f4d23-4a61-4401-9315-f0ce5ffabd34" providerId="ADAL" clId="{520AEDBA-0C6E-4517-B32E-18C974D5E688}" dt="2023-08-23T12:16:49.568" v="159" actId="27636"/>
          <ac:spMkLst>
            <pc:docMk/>
            <pc:sldMk cId="1122339693" sldId="559"/>
            <ac:spMk id="7" creationId="{00000000-0000-0000-0000-000000000000}"/>
          </ac:spMkLst>
        </pc:spChg>
      </pc:sldChg>
      <pc:sldChg chg="modSp add mod">
        <pc:chgData name="Peter Eichenberger" userId="728f4d23-4a61-4401-9315-f0ce5ffabd34" providerId="ADAL" clId="{520AEDBA-0C6E-4517-B32E-18C974D5E688}" dt="2023-08-23T12:16:49.573" v="160" actId="27636"/>
        <pc:sldMkLst>
          <pc:docMk/>
          <pc:sldMk cId="1245940260" sldId="560"/>
        </pc:sldMkLst>
        <pc:spChg chg="mod">
          <ac:chgData name="Peter Eichenberger" userId="728f4d23-4a61-4401-9315-f0ce5ffabd34" providerId="ADAL" clId="{520AEDBA-0C6E-4517-B32E-18C974D5E688}" dt="2023-08-23T12:16:49.573" v="160" actId="27636"/>
          <ac:spMkLst>
            <pc:docMk/>
            <pc:sldMk cId="1245940260" sldId="560"/>
            <ac:spMk id="8" creationId="{00000000-0000-0000-0000-000000000000}"/>
          </ac:spMkLst>
        </pc:spChg>
      </pc:sldChg>
      <pc:sldChg chg="modSp add mod">
        <pc:chgData name="Peter Eichenberger" userId="728f4d23-4a61-4401-9315-f0ce5ffabd34" providerId="ADAL" clId="{520AEDBA-0C6E-4517-B32E-18C974D5E688}" dt="2023-08-23T12:17:22.842" v="162" actId="27636"/>
        <pc:sldMkLst>
          <pc:docMk/>
          <pc:sldMk cId="189095761" sldId="561"/>
        </pc:sldMkLst>
        <pc:spChg chg="mod">
          <ac:chgData name="Peter Eichenberger" userId="728f4d23-4a61-4401-9315-f0ce5ffabd34" providerId="ADAL" clId="{520AEDBA-0C6E-4517-B32E-18C974D5E688}" dt="2023-08-23T12:17:22.842" v="162" actId="27636"/>
          <ac:spMkLst>
            <pc:docMk/>
            <pc:sldMk cId="189095761" sldId="561"/>
            <ac:spMk id="7" creationId="{00000000-0000-0000-0000-000000000000}"/>
          </ac:spMkLst>
        </pc:spChg>
      </pc:sldChg>
      <pc:sldChg chg="modSp add mod">
        <pc:chgData name="Peter Eichenberger" userId="728f4d23-4a61-4401-9315-f0ce5ffabd34" providerId="ADAL" clId="{520AEDBA-0C6E-4517-B32E-18C974D5E688}" dt="2023-08-23T12:28:15.885" v="258" actId="27636"/>
        <pc:sldMkLst>
          <pc:docMk/>
          <pc:sldMk cId="2922513775" sldId="562"/>
        </pc:sldMkLst>
        <pc:spChg chg="mod">
          <ac:chgData name="Peter Eichenberger" userId="728f4d23-4a61-4401-9315-f0ce5ffabd34" providerId="ADAL" clId="{520AEDBA-0C6E-4517-B32E-18C974D5E688}" dt="2023-08-23T12:28:15.885" v="258" actId="27636"/>
          <ac:spMkLst>
            <pc:docMk/>
            <pc:sldMk cId="2922513775" sldId="562"/>
            <ac:spMk id="13" creationId="{00000000-0000-0000-0000-000000000000}"/>
          </ac:spMkLst>
        </pc:spChg>
      </pc:sldChg>
      <pc:sldChg chg="modSp add mod">
        <pc:chgData name="Peter Eichenberger" userId="728f4d23-4a61-4401-9315-f0ce5ffabd34" providerId="ADAL" clId="{520AEDBA-0C6E-4517-B32E-18C974D5E688}" dt="2023-08-23T12:17:22.851" v="163" actId="27636"/>
        <pc:sldMkLst>
          <pc:docMk/>
          <pc:sldMk cId="1878710504" sldId="563"/>
        </pc:sldMkLst>
        <pc:spChg chg="mod">
          <ac:chgData name="Peter Eichenberger" userId="728f4d23-4a61-4401-9315-f0ce5ffabd34" providerId="ADAL" clId="{520AEDBA-0C6E-4517-B32E-18C974D5E688}" dt="2023-08-23T12:17:22.851" v="163" actId="27636"/>
          <ac:spMkLst>
            <pc:docMk/>
            <pc:sldMk cId="1878710504" sldId="563"/>
            <ac:spMk id="7" creationId="{00000000-0000-0000-0000-000000000000}"/>
          </ac:spMkLst>
        </pc:spChg>
      </pc:sldChg>
      <pc:sldChg chg="modSp add mod">
        <pc:chgData name="Peter Eichenberger" userId="728f4d23-4a61-4401-9315-f0ce5ffabd34" providerId="ADAL" clId="{520AEDBA-0C6E-4517-B32E-18C974D5E688}" dt="2023-08-23T12:28:15.892" v="260" actId="27636"/>
        <pc:sldMkLst>
          <pc:docMk/>
          <pc:sldMk cId="2366108702" sldId="564"/>
        </pc:sldMkLst>
        <pc:spChg chg="mod">
          <ac:chgData name="Peter Eichenberger" userId="728f4d23-4a61-4401-9315-f0ce5ffabd34" providerId="ADAL" clId="{520AEDBA-0C6E-4517-B32E-18C974D5E688}" dt="2023-08-23T12:28:15.892" v="260" actId="27636"/>
          <ac:spMkLst>
            <pc:docMk/>
            <pc:sldMk cId="2366108702" sldId="564"/>
            <ac:spMk id="7" creationId="{00000000-0000-0000-0000-000000000000}"/>
          </ac:spMkLst>
        </pc:spChg>
      </pc:sldChg>
      <pc:sldChg chg="modSp add mod">
        <pc:chgData name="Peter Eichenberger" userId="728f4d23-4a61-4401-9315-f0ce5ffabd34" providerId="ADAL" clId="{520AEDBA-0C6E-4517-B32E-18C974D5E688}" dt="2023-08-23T12:17:22.855" v="164" actId="27636"/>
        <pc:sldMkLst>
          <pc:docMk/>
          <pc:sldMk cId="848276434" sldId="565"/>
        </pc:sldMkLst>
        <pc:spChg chg="mod">
          <ac:chgData name="Peter Eichenberger" userId="728f4d23-4a61-4401-9315-f0ce5ffabd34" providerId="ADAL" clId="{520AEDBA-0C6E-4517-B32E-18C974D5E688}" dt="2023-08-23T12:17:22.855" v="164" actId="27636"/>
          <ac:spMkLst>
            <pc:docMk/>
            <pc:sldMk cId="848276434" sldId="565"/>
            <ac:spMk id="7" creationId="{00000000-0000-0000-0000-000000000000}"/>
          </ac:spMkLst>
        </pc:spChg>
      </pc:sldChg>
      <pc:sldChg chg="addSp delSp modSp new mod">
        <pc:chgData name="Peter Eichenberger" userId="728f4d23-4a61-4401-9315-f0ce5ffabd34" providerId="ADAL" clId="{520AEDBA-0C6E-4517-B32E-18C974D5E688}" dt="2023-08-23T12:18:57.001" v="184"/>
        <pc:sldMkLst>
          <pc:docMk/>
          <pc:sldMk cId="3385342560" sldId="566"/>
        </pc:sldMkLst>
        <pc:spChg chg="mod">
          <ac:chgData name="Peter Eichenberger" userId="728f4d23-4a61-4401-9315-f0ce5ffabd34" providerId="ADAL" clId="{520AEDBA-0C6E-4517-B32E-18C974D5E688}" dt="2023-08-23T12:18:52.545" v="182" actId="20577"/>
          <ac:spMkLst>
            <pc:docMk/>
            <pc:sldMk cId="3385342560" sldId="566"/>
            <ac:spMk id="3" creationId="{F9844434-CA96-940E-430F-AE5EE530D1C9}"/>
          </ac:spMkLst>
        </pc:spChg>
        <pc:picChg chg="add del">
          <ac:chgData name="Peter Eichenberger" userId="728f4d23-4a61-4401-9315-f0ce5ffabd34" providerId="ADAL" clId="{520AEDBA-0C6E-4517-B32E-18C974D5E688}" dt="2023-08-23T12:18:57.001" v="184"/>
          <ac:picMkLst>
            <pc:docMk/>
            <pc:sldMk cId="3385342560" sldId="566"/>
            <ac:picMk id="8" creationId="{1CCC8DDD-A24D-7330-3671-195BEAEF468B}"/>
          </ac:picMkLst>
        </pc:picChg>
      </pc:sldChg>
      <pc:sldChg chg="modSp new mod">
        <pc:chgData name="Peter Eichenberger" userId="728f4d23-4a61-4401-9315-f0ce5ffabd34" providerId="ADAL" clId="{520AEDBA-0C6E-4517-B32E-18C974D5E688}" dt="2023-08-23T12:22:45.199" v="237" actId="27636"/>
        <pc:sldMkLst>
          <pc:docMk/>
          <pc:sldMk cId="3508889736" sldId="567"/>
        </pc:sldMkLst>
        <pc:spChg chg="mod">
          <ac:chgData name="Peter Eichenberger" userId="728f4d23-4a61-4401-9315-f0ce5ffabd34" providerId="ADAL" clId="{520AEDBA-0C6E-4517-B32E-18C974D5E688}" dt="2023-08-23T12:19:04.321" v="189" actId="20577"/>
          <ac:spMkLst>
            <pc:docMk/>
            <pc:sldMk cId="3508889736" sldId="567"/>
            <ac:spMk id="5" creationId="{BD8BB989-D523-5C7C-DB91-D7B452564D65}"/>
          </ac:spMkLst>
        </pc:spChg>
        <pc:spChg chg="mod">
          <ac:chgData name="Peter Eichenberger" userId="728f4d23-4a61-4401-9315-f0ce5ffabd34" providerId="ADAL" clId="{520AEDBA-0C6E-4517-B32E-18C974D5E688}" dt="2023-08-23T12:22:45.199" v="237" actId="27636"/>
          <ac:spMkLst>
            <pc:docMk/>
            <pc:sldMk cId="3508889736" sldId="567"/>
            <ac:spMk id="7" creationId="{C81390D3-21F0-DE83-5CAD-9BCC68E3C7CA}"/>
          </ac:spMkLst>
        </pc:spChg>
      </pc:sldChg>
      <pc:sldChg chg="modSp new mod">
        <pc:chgData name="Peter Eichenberger" userId="728f4d23-4a61-4401-9315-f0ce5ffabd34" providerId="ADAL" clId="{520AEDBA-0C6E-4517-B32E-18C974D5E688}" dt="2023-08-23T12:22:45.202" v="238" actId="27636"/>
        <pc:sldMkLst>
          <pc:docMk/>
          <pc:sldMk cId="902960000" sldId="568"/>
        </pc:sldMkLst>
        <pc:spChg chg="mod">
          <ac:chgData name="Peter Eichenberger" userId="728f4d23-4a61-4401-9315-f0ce5ffabd34" providerId="ADAL" clId="{520AEDBA-0C6E-4517-B32E-18C974D5E688}" dt="2023-08-23T12:20:00.609" v="209" actId="20577"/>
          <ac:spMkLst>
            <pc:docMk/>
            <pc:sldMk cId="902960000" sldId="568"/>
            <ac:spMk id="5" creationId="{1231E457-1A07-4F9E-2D9B-705FCC3063D7}"/>
          </ac:spMkLst>
        </pc:spChg>
        <pc:spChg chg="mod">
          <ac:chgData name="Peter Eichenberger" userId="728f4d23-4a61-4401-9315-f0ce5ffabd34" providerId="ADAL" clId="{520AEDBA-0C6E-4517-B32E-18C974D5E688}" dt="2023-08-23T12:20:36.986" v="233"/>
          <ac:spMkLst>
            <pc:docMk/>
            <pc:sldMk cId="902960000" sldId="568"/>
            <ac:spMk id="6" creationId="{8234EDE0-8D93-48F0-8233-8998DD637B83}"/>
          </ac:spMkLst>
        </pc:spChg>
        <pc:spChg chg="mod">
          <ac:chgData name="Peter Eichenberger" userId="728f4d23-4a61-4401-9315-f0ce5ffabd34" providerId="ADAL" clId="{520AEDBA-0C6E-4517-B32E-18C974D5E688}" dt="2023-08-23T12:22:45.202" v="238" actId="27636"/>
          <ac:spMkLst>
            <pc:docMk/>
            <pc:sldMk cId="902960000" sldId="568"/>
            <ac:spMk id="7" creationId="{99527453-E378-2622-8AE4-81E9ADDEE14D}"/>
          </ac:spMkLst>
        </pc:spChg>
      </pc:sldChg>
      <pc:sldChg chg="modSp new mod">
        <pc:chgData name="Peter Eichenberger" userId="728f4d23-4a61-4401-9315-f0ce5ffabd34" providerId="ADAL" clId="{520AEDBA-0C6E-4517-B32E-18C974D5E688}" dt="2023-08-23T12:22:45.204" v="239" actId="27636"/>
        <pc:sldMkLst>
          <pc:docMk/>
          <pc:sldMk cId="2593837922" sldId="569"/>
        </pc:sldMkLst>
        <pc:spChg chg="mod">
          <ac:chgData name="Peter Eichenberger" userId="728f4d23-4a61-4401-9315-f0ce5ffabd34" providerId="ADAL" clId="{520AEDBA-0C6E-4517-B32E-18C974D5E688}" dt="2023-08-23T12:20:13.810" v="232" actId="20577"/>
          <ac:spMkLst>
            <pc:docMk/>
            <pc:sldMk cId="2593837922" sldId="569"/>
            <ac:spMk id="5" creationId="{89734F2D-BD50-EF9E-7ABD-6DC9C69CDC0D}"/>
          </ac:spMkLst>
        </pc:spChg>
        <pc:spChg chg="mod">
          <ac:chgData name="Peter Eichenberger" userId="728f4d23-4a61-4401-9315-f0ce5ffabd34" providerId="ADAL" clId="{520AEDBA-0C6E-4517-B32E-18C974D5E688}" dt="2023-08-23T12:22:45.204" v="239" actId="27636"/>
          <ac:spMkLst>
            <pc:docMk/>
            <pc:sldMk cId="2593837922" sldId="569"/>
            <ac:spMk id="7" creationId="{AADC3953-06B0-E0AC-982D-D363230D2628}"/>
          </ac:spMkLst>
        </pc:spChg>
      </pc:sldChg>
      <pc:sldChg chg="modSp add mod">
        <pc:chgData name="Peter Eichenberger" userId="728f4d23-4a61-4401-9315-f0ce5ffabd34" providerId="ADAL" clId="{520AEDBA-0C6E-4517-B32E-18C974D5E688}" dt="2023-08-23T12:29:44.361" v="264" actId="27636"/>
        <pc:sldMkLst>
          <pc:docMk/>
          <pc:sldMk cId="2600707036" sldId="577"/>
        </pc:sldMkLst>
        <pc:spChg chg="mod">
          <ac:chgData name="Peter Eichenberger" userId="728f4d23-4a61-4401-9315-f0ce5ffabd34" providerId="ADAL" clId="{520AEDBA-0C6E-4517-B32E-18C974D5E688}" dt="2023-08-23T12:29:44.361" v="264" actId="27636"/>
          <ac:spMkLst>
            <pc:docMk/>
            <pc:sldMk cId="2600707036" sldId="577"/>
            <ac:spMk id="6" creationId="{00000000-0000-0000-0000-000000000000}"/>
          </ac:spMkLst>
        </pc:spChg>
      </pc:sldChg>
      <pc:sldChg chg="modSp add mod">
        <pc:chgData name="Peter Eichenberger" userId="728f4d23-4a61-4401-9315-f0ce5ffabd34" providerId="ADAL" clId="{520AEDBA-0C6E-4517-B32E-18C974D5E688}" dt="2023-08-23T12:31:32.922" v="267" actId="27636"/>
        <pc:sldMkLst>
          <pc:docMk/>
          <pc:sldMk cId="4010265707" sldId="578"/>
        </pc:sldMkLst>
        <pc:spChg chg="mod">
          <ac:chgData name="Peter Eichenberger" userId="728f4d23-4a61-4401-9315-f0ce5ffabd34" providerId="ADAL" clId="{520AEDBA-0C6E-4517-B32E-18C974D5E688}" dt="2023-08-23T12:31:32.922" v="267" actId="27636"/>
          <ac:spMkLst>
            <pc:docMk/>
            <pc:sldMk cId="4010265707" sldId="578"/>
            <ac:spMk id="6" creationId="{00000000-0000-0000-0000-000000000000}"/>
          </ac:spMkLst>
        </pc:spChg>
        <pc:spChg chg="mod">
          <ac:chgData name="Peter Eichenberger" userId="728f4d23-4a61-4401-9315-f0ce5ffabd34" providerId="ADAL" clId="{520AEDBA-0C6E-4517-B32E-18C974D5E688}" dt="2023-08-23T12:31:32.920" v="266" actId="27636"/>
          <ac:spMkLst>
            <pc:docMk/>
            <pc:sldMk cId="4010265707" sldId="578"/>
            <ac:spMk id="7" creationId="{00000000-0000-0000-0000-000000000000}"/>
          </ac:spMkLst>
        </pc:spChg>
      </pc:sldChg>
      <pc:sldChg chg="modSp add mod">
        <pc:chgData name="Peter Eichenberger" userId="728f4d23-4a61-4401-9315-f0ce5ffabd34" providerId="ADAL" clId="{520AEDBA-0C6E-4517-B32E-18C974D5E688}" dt="2023-08-23T12:31:32.935" v="268" actId="27636"/>
        <pc:sldMkLst>
          <pc:docMk/>
          <pc:sldMk cId="1210674658" sldId="579"/>
        </pc:sldMkLst>
        <pc:spChg chg="mod">
          <ac:chgData name="Peter Eichenberger" userId="728f4d23-4a61-4401-9315-f0ce5ffabd34" providerId="ADAL" clId="{520AEDBA-0C6E-4517-B32E-18C974D5E688}" dt="2023-08-23T12:31:32.935" v="268" actId="27636"/>
          <ac:spMkLst>
            <pc:docMk/>
            <pc:sldMk cId="1210674658" sldId="579"/>
            <ac:spMk id="7" creationId="{00000000-0000-0000-0000-000000000000}"/>
          </ac:spMkLst>
        </pc:spChg>
      </pc:sldChg>
      <pc:sldChg chg="modSp add mod">
        <pc:chgData name="Peter Eichenberger" userId="728f4d23-4a61-4401-9315-f0ce5ffabd34" providerId="ADAL" clId="{520AEDBA-0C6E-4517-B32E-18C974D5E688}" dt="2023-08-23T12:31:32.939" v="269" actId="27636"/>
        <pc:sldMkLst>
          <pc:docMk/>
          <pc:sldMk cId="2255113510" sldId="580"/>
        </pc:sldMkLst>
        <pc:spChg chg="mod">
          <ac:chgData name="Peter Eichenberger" userId="728f4d23-4a61-4401-9315-f0ce5ffabd34" providerId="ADAL" clId="{520AEDBA-0C6E-4517-B32E-18C974D5E688}" dt="2023-08-23T12:31:32.939" v="269" actId="27636"/>
          <ac:spMkLst>
            <pc:docMk/>
            <pc:sldMk cId="2255113510" sldId="580"/>
            <ac:spMk id="7" creationId="{00000000-0000-0000-0000-000000000000}"/>
          </ac:spMkLst>
        </pc:spChg>
      </pc:sldChg>
      <pc:sldChg chg="modSp add mod">
        <pc:chgData name="Peter Eichenberger" userId="728f4d23-4a61-4401-9315-f0ce5ffabd34" providerId="ADAL" clId="{520AEDBA-0C6E-4517-B32E-18C974D5E688}" dt="2023-08-23T12:31:32.942" v="270" actId="27636"/>
        <pc:sldMkLst>
          <pc:docMk/>
          <pc:sldMk cId="1651979236" sldId="582"/>
        </pc:sldMkLst>
        <pc:spChg chg="mod">
          <ac:chgData name="Peter Eichenberger" userId="728f4d23-4a61-4401-9315-f0ce5ffabd34" providerId="ADAL" clId="{520AEDBA-0C6E-4517-B32E-18C974D5E688}" dt="2023-08-23T12:31:32.942" v="270" actId="27636"/>
          <ac:spMkLst>
            <pc:docMk/>
            <pc:sldMk cId="1651979236" sldId="582"/>
            <ac:spMk id="6" creationId="{00000000-0000-0000-0000-000000000000}"/>
          </ac:spMkLst>
        </pc:spChg>
      </pc:sldChg>
      <pc:sldChg chg="modSp add mod">
        <pc:chgData name="Peter Eichenberger" userId="728f4d23-4a61-4401-9315-f0ce5ffabd34" providerId="ADAL" clId="{520AEDBA-0C6E-4517-B32E-18C974D5E688}" dt="2023-08-23T12:31:32.947" v="271" actId="27636"/>
        <pc:sldMkLst>
          <pc:docMk/>
          <pc:sldMk cId="3106155312" sldId="583"/>
        </pc:sldMkLst>
        <pc:spChg chg="mod">
          <ac:chgData name="Peter Eichenberger" userId="728f4d23-4a61-4401-9315-f0ce5ffabd34" providerId="ADAL" clId="{520AEDBA-0C6E-4517-B32E-18C974D5E688}" dt="2023-08-23T12:31:32.947" v="271" actId="27636"/>
          <ac:spMkLst>
            <pc:docMk/>
            <pc:sldMk cId="3106155312" sldId="583"/>
            <ac:spMk id="7" creationId="{00000000-0000-0000-0000-000000000000}"/>
          </ac:spMkLst>
        </pc:spChg>
      </pc:sldChg>
      <pc:sldChg chg="modSp add mod">
        <pc:chgData name="Peter Eichenberger" userId="728f4d23-4a61-4401-9315-f0ce5ffabd34" providerId="ADAL" clId="{520AEDBA-0C6E-4517-B32E-18C974D5E688}" dt="2023-08-23T12:31:32.949" v="272" actId="27636"/>
        <pc:sldMkLst>
          <pc:docMk/>
          <pc:sldMk cId="3321027980" sldId="584"/>
        </pc:sldMkLst>
        <pc:spChg chg="mod">
          <ac:chgData name="Peter Eichenberger" userId="728f4d23-4a61-4401-9315-f0ce5ffabd34" providerId="ADAL" clId="{520AEDBA-0C6E-4517-B32E-18C974D5E688}" dt="2023-08-23T12:31:32.949" v="272" actId="27636"/>
          <ac:spMkLst>
            <pc:docMk/>
            <pc:sldMk cId="3321027980" sldId="584"/>
            <ac:spMk id="7" creationId="{00000000-0000-0000-0000-000000000000}"/>
          </ac:spMkLst>
        </pc:spChg>
      </pc:sldChg>
      <pc:sldChg chg="modSp add mod">
        <pc:chgData name="Peter Eichenberger" userId="728f4d23-4a61-4401-9315-f0ce5ffabd34" providerId="ADAL" clId="{520AEDBA-0C6E-4517-B32E-18C974D5E688}" dt="2023-08-23T12:31:32.957" v="273" actId="27636"/>
        <pc:sldMkLst>
          <pc:docMk/>
          <pc:sldMk cId="1555130594" sldId="585"/>
        </pc:sldMkLst>
        <pc:spChg chg="mod">
          <ac:chgData name="Peter Eichenberger" userId="728f4d23-4a61-4401-9315-f0ce5ffabd34" providerId="ADAL" clId="{520AEDBA-0C6E-4517-B32E-18C974D5E688}" dt="2023-08-23T12:31:32.957" v="273" actId="27636"/>
          <ac:spMkLst>
            <pc:docMk/>
            <pc:sldMk cId="1555130594" sldId="585"/>
            <ac:spMk id="7" creationId="{00000000-0000-0000-0000-000000000000}"/>
          </ac:spMkLst>
        </pc:spChg>
      </pc:sldChg>
      <pc:sldChg chg="modSp add mod">
        <pc:chgData name="Peter Eichenberger" userId="728f4d23-4a61-4401-9315-f0ce5ffabd34" providerId="ADAL" clId="{520AEDBA-0C6E-4517-B32E-18C974D5E688}" dt="2023-08-23T12:31:32.959" v="274" actId="27636"/>
        <pc:sldMkLst>
          <pc:docMk/>
          <pc:sldMk cId="3124400708" sldId="586"/>
        </pc:sldMkLst>
        <pc:spChg chg="mod">
          <ac:chgData name="Peter Eichenberger" userId="728f4d23-4a61-4401-9315-f0ce5ffabd34" providerId="ADAL" clId="{520AEDBA-0C6E-4517-B32E-18C974D5E688}" dt="2023-08-23T12:31:32.959" v="274" actId="27636"/>
          <ac:spMkLst>
            <pc:docMk/>
            <pc:sldMk cId="3124400708" sldId="586"/>
            <ac:spMk id="10" creationId="{00000000-0000-0000-0000-000000000000}"/>
          </ac:spMkLst>
        </pc:spChg>
      </pc:sldChg>
      <pc:sldChg chg="modSp add mod">
        <pc:chgData name="Peter Eichenberger" userId="728f4d23-4a61-4401-9315-f0ce5ffabd34" providerId="ADAL" clId="{520AEDBA-0C6E-4517-B32E-18C974D5E688}" dt="2023-08-23T12:31:32.961" v="275" actId="27636"/>
        <pc:sldMkLst>
          <pc:docMk/>
          <pc:sldMk cId="437390342" sldId="587"/>
        </pc:sldMkLst>
        <pc:spChg chg="mod">
          <ac:chgData name="Peter Eichenberger" userId="728f4d23-4a61-4401-9315-f0ce5ffabd34" providerId="ADAL" clId="{520AEDBA-0C6E-4517-B32E-18C974D5E688}" dt="2023-08-23T12:31:32.961" v="275" actId="27636"/>
          <ac:spMkLst>
            <pc:docMk/>
            <pc:sldMk cId="437390342" sldId="587"/>
            <ac:spMk id="7" creationId="{00000000-0000-0000-0000-000000000000}"/>
          </ac:spMkLst>
        </pc:spChg>
      </pc:sldChg>
      <pc:sldChg chg="add">
        <pc:chgData name="Peter Eichenberger" userId="728f4d23-4a61-4401-9315-f0ce5ffabd34" providerId="ADAL" clId="{520AEDBA-0C6E-4517-B32E-18C974D5E688}" dt="2023-08-23T12:31:32.884" v="265"/>
        <pc:sldMkLst>
          <pc:docMk/>
          <pc:sldMk cId="4112181759" sldId="588"/>
        </pc:sldMkLst>
      </pc:sldChg>
      <pc:sldChg chg="modSp add mod">
        <pc:chgData name="Peter Eichenberger" userId="728f4d23-4a61-4401-9315-f0ce5ffabd34" providerId="ADAL" clId="{520AEDBA-0C6E-4517-B32E-18C974D5E688}" dt="2023-08-23T12:31:32.965" v="276" actId="27636"/>
        <pc:sldMkLst>
          <pc:docMk/>
          <pc:sldMk cId="3595387882" sldId="589"/>
        </pc:sldMkLst>
        <pc:spChg chg="mod">
          <ac:chgData name="Peter Eichenberger" userId="728f4d23-4a61-4401-9315-f0ce5ffabd34" providerId="ADAL" clId="{520AEDBA-0C6E-4517-B32E-18C974D5E688}" dt="2023-08-23T12:31:32.965" v="276" actId="27636"/>
          <ac:spMkLst>
            <pc:docMk/>
            <pc:sldMk cId="3595387882" sldId="589"/>
            <ac:spMk id="6" creationId="{00000000-0000-0000-0000-000000000000}"/>
          </ac:spMkLst>
        </pc:spChg>
      </pc:sldChg>
      <pc:sldChg chg="modSp add mod">
        <pc:chgData name="Peter Eichenberger" userId="728f4d23-4a61-4401-9315-f0ce5ffabd34" providerId="ADAL" clId="{520AEDBA-0C6E-4517-B32E-18C974D5E688}" dt="2023-08-23T12:31:32.969" v="277" actId="27636"/>
        <pc:sldMkLst>
          <pc:docMk/>
          <pc:sldMk cId="921586013" sldId="590"/>
        </pc:sldMkLst>
        <pc:spChg chg="mod">
          <ac:chgData name="Peter Eichenberger" userId="728f4d23-4a61-4401-9315-f0ce5ffabd34" providerId="ADAL" clId="{520AEDBA-0C6E-4517-B32E-18C974D5E688}" dt="2023-08-23T12:31:32.969" v="277" actId="27636"/>
          <ac:spMkLst>
            <pc:docMk/>
            <pc:sldMk cId="921586013" sldId="590"/>
            <ac:spMk id="7" creationId="{00000000-0000-0000-0000-000000000000}"/>
          </ac:spMkLst>
        </pc:spChg>
      </pc:sldChg>
      <pc:sldChg chg="modSp add mod">
        <pc:chgData name="Peter Eichenberger" userId="728f4d23-4a61-4401-9315-f0ce5ffabd34" providerId="ADAL" clId="{520AEDBA-0C6E-4517-B32E-18C974D5E688}" dt="2023-08-23T12:31:32.975" v="278" actId="27636"/>
        <pc:sldMkLst>
          <pc:docMk/>
          <pc:sldMk cId="559385704" sldId="591"/>
        </pc:sldMkLst>
        <pc:spChg chg="mod">
          <ac:chgData name="Peter Eichenberger" userId="728f4d23-4a61-4401-9315-f0ce5ffabd34" providerId="ADAL" clId="{520AEDBA-0C6E-4517-B32E-18C974D5E688}" dt="2023-08-23T12:31:32.975" v="278" actId="27636"/>
          <ac:spMkLst>
            <pc:docMk/>
            <pc:sldMk cId="559385704" sldId="591"/>
            <ac:spMk id="7" creationId="{00000000-0000-0000-0000-000000000000}"/>
          </ac:spMkLst>
        </pc:spChg>
      </pc:sldChg>
      <pc:sldChg chg="modSp add mod">
        <pc:chgData name="Peter Eichenberger" userId="728f4d23-4a61-4401-9315-f0ce5ffabd34" providerId="ADAL" clId="{520AEDBA-0C6E-4517-B32E-18C974D5E688}" dt="2023-08-23T12:23:56.445" v="246" actId="27636"/>
        <pc:sldMkLst>
          <pc:docMk/>
          <pc:sldMk cId="1744801035" sldId="595"/>
        </pc:sldMkLst>
        <pc:spChg chg="mod">
          <ac:chgData name="Peter Eichenberger" userId="728f4d23-4a61-4401-9315-f0ce5ffabd34" providerId="ADAL" clId="{520AEDBA-0C6E-4517-B32E-18C974D5E688}" dt="2023-08-23T12:23:56.444" v="245" actId="27636"/>
          <ac:spMkLst>
            <pc:docMk/>
            <pc:sldMk cId="1744801035" sldId="595"/>
            <ac:spMk id="6" creationId="{00000000-0000-0000-0000-000000000000}"/>
          </ac:spMkLst>
        </pc:spChg>
        <pc:spChg chg="mod">
          <ac:chgData name="Peter Eichenberger" userId="728f4d23-4a61-4401-9315-f0ce5ffabd34" providerId="ADAL" clId="{520AEDBA-0C6E-4517-B32E-18C974D5E688}" dt="2023-08-23T12:23:56.445" v="246" actId="27636"/>
          <ac:spMkLst>
            <pc:docMk/>
            <pc:sldMk cId="1744801035" sldId="595"/>
            <ac:spMk id="7" creationId="{00000000-0000-0000-0000-000000000000}"/>
          </ac:spMkLst>
        </pc:spChg>
      </pc:sldChg>
      <pc:sldChg chg="modSp add mod">
        <pc:chgData name="Peter Eichenberger" userId="728f4d23-4a61-4401-9315-f0ce5ffabd34" providerId="ADAL" clId="{520AEDBA-0C6E-4517-B32E-18C974D5E688}" dt="2023-08-23T12:23:56.457" v="247" actId="27636"/>
        <pc:sldMkLst>
          <pc:docMk/>
          <pc:sldMk cId="455135106" sldId="596"/>
        </pc:sldMkLst>
        <pc:spChg chg="mod">
          <ac:chgData name="Peter Eichenberger" userId="728f4d23-4a61-4401-9315-f0ce5ffabd34" providerId="ADAL" clId="{520AEDBA-0C6E-4517-B32E-18C974D5E688}" dt="2023-08-23T12:23:56.457" v="247" actId="27636"/>
          <ac:spMkLst>
            <pc:docMk/>
            <pc:sldMk cId="455135106" sldId="596"/>
            <ac:spMk id="7" creationId="{00000000-0000-0000-0000-000000000000}"/>
          </ac:spMkLst>
        </pc:spChg>
      </pc:sldChg>
      <pc:sldChg chg="modSp add mod">
        <pc:chgData name="Peter Eichenberger" userId="728f4d23-4a61-4401-9315-f0ce5ffabd34" providerId="ADAL" clId="{520AEDBA-0C6E-4517-B32E-18C974D5E688}" dt="2023-08-23T12:26:06.152" v="249" actId="27636"/>
        <pc:sldMkLst>
          <pc:docMk/>
          <pc:sldMk cId="2046922376" sldId="598"/>
        </pc:sldMkLst>
        <pc:spChg chg="mod">
          <ac:chgData name="Peter Eichenberger" userId="728f4d23-4a61-4401-9315-f0ce5ffabd34" providerId="ADAL" clId="{520AEDBA-0C6E-4517-B32E-18C974D5E688}" dt="2023-08-23T12:26:06.152" v="249" actId="27636"/>
          <ac:spMkLst>
            <pc:docMk/>
            <pc:sldMk cId="2046922376" sldId="598"/>
            <ac:spMk id="7" creationId="{00000000-0000-0000-0000-000000000000}"/>
          </ac:spMkLst>
        </pc:spChg>
      </pc:sldChg>
      <pc:sldChg chg="modSp add mod">
        <pc:chgData name="Peter Eichenberger" userId="728f4d23-4a61-4401-9315-f0ce5ffabd34" providerId="ADAL" clId="{520AEDBA-0C6E-4517-B32E-18C974D5E688}" dt="2023-08-23T12:26:06.160" v="250" actId="27636"/>
        <pc:sldMkLst>
          <pc:docMk/>
          <pc:sldMk cId="867464885" sldId="599"/>
        </pc:sldMkLst>
        <pc:spChg chg="mod">
          <ac:chgData name="Peter Eichenberger" userId="728f4d23-4a61-4401-9315-f0ce5ffabd34" providerId="ADAL" clId="{520AEDBA-0C6E-4517-B32E-18C974D5E688}" dt="2023-08-23T12:26:06.160" v="250" actId="27636"/>
          <ac:spMkLst>
            <pc:docMk/>
            <pc:sldMk cId="867464885" sldId="599"/>
            <ac:spMk id="7" creationId="{00000000-0000-0000-0000-000000000000}"/>
          </ac:spMkLst>
        </pc:spChg>
      </pc:sldChg>
      <pc:sldChg chg="add">
        <pc:chgData name="Peter Eichenberger" userId="728f4d23-4a61-4401-9315-f0ce5ffabd34" providerId="ADAL" clId="{520AEDBA-0C6E-4517-B32E-18C974D5E688}" dt="2023-08-23T12:28:15.826" v="251"/>
        <pc:sldMkLst>
          <pc:docMk/>
          <pc:sldMk cId="3793422379" sldId="600"/>
        </pc:sldMkLst>
      </pc:sldChg>
      <pc:sldChg chg="modSp add mod">
        <pc:chgData name="Peter Eichenberger" userId="728f4d23-4a61-4401-9315-f0ce5ffabd34" providerId="ADAL" clId="{520AEDBA-0C6E-4517-B32E-18C974D5E688}" dt="2023-08-23T12:28:15.873" v="255" actId="27636"/>
        <pc:sldMkLst>
          <pc:docMk/>
          <pc:sldMk cId="568451204" sldId="601"/>
        </pc:sldMkLst>
        <pc:spChg chg="mod">
          <ac:chgData name="Peter Eichenberger" userId="728f4d23-4a61-4401-9315-f0ce5ffabd34" providerId="ADAL" clId="{520AEDBA-0C6E-4517-B32E-18C974D5E688}" dt="2023-08-23T12:28:15.873" v="255" actId="27636"/>
          <ac:spMkLst>
            <pc:docMk/>
            <pc:sldMk cId="568451204" sldId="601"/>
            <ac:spMk id="7" creationId="{00000000-0000-0000-0000-000000000000}"/>
          </ac:spMkLst>
        </pc:spChg>
      </pc:sldChg>
      <pc:sldChg chg="modSp add mod">
        <pc:chgData name="Peter Eichenberger" userId="728f4d23-4a61-4401-9315-f0ce5ffabd34" providerId="ADAL" clId="{520AEDBA-0C6E-4517-B32E-18C974D5E688}" dt="2023-08-23T12:28:15.889" v="259" actId="27636"/>
        <pc:sldMkLst>
          <pc:docMk/>
          <pc:sldMk cId="3304405118" sldId="602"/>
        </pc:sldMkLst>
        <pc:spChg chg="mod">
          <ac:chgData name="Peter Eichenberger" userId="728f4d23-4a61-4401-9315-f0ce5ffabd34" providerId="ADAL" clId="{520AEDBA-0C6E-4517-B32E-18C974D5E688}" dt="2023-08-23T12:28:15.889" v="259" actId="27636"/>
          <ac:spMkLst>
            <pc:docMk/>
            <pc:sldMk cId="3304405118" sldId="602"/>
            <ac:spMk id="7" creationId="{00000000-0000-0000-0000-000000000000}"/>
          </ac:spMkLst>
        </pc:spChg>
      </pc:sldChg>
      <pc:sldChg chg="modSp add mod">
        <pc:chgData name="Peter Eichenberger" userId="728f4d23-4a61-4401-9315-f0ce5ffabd34" providerId="ADAL" clId="{520AEDBA-0C6E-4517-B32E-18C974D5E688}" dt="2023-08-23T12:28:15.895" v="261" actId="27636"/>
        <pc:sldMkLst>
          <pc:docMk/>
          <pc:sldMk cId="2326892164" sldId="603"/>
        </pc:sldMkLst>
        <pc:spChg chg="mod">
          <ac:chgData name="Peter Eichenberger" userId="728f4d23-4a61-4401-9315-f0ce5ffabd34" providerId="ADAL" clId="{520AEDBA-0C6E-4517-B32E-18C974D5E688}" dt="2023-08-23T12:28:15.895" v="261" actId="27636"/>
          <ac:spMkLst>
            <pc:docMk/>
            <pc:sldMk cId="2326892164" sldId="603"/>
            <ac:spMk id="7" creationId="{00000000-0000-0000-0000-000000000000}"/>
          </ac:spMkLst>
        </pc:spChg>
      </pc:sldChg>
      <pc:sldChg chg="modSp add mod">
        <pc:chgData name="Peter Eichenberger" userId="728f4d23-4a61-4401-9315-f0ce5ffabd34" providerId="ADAL" clId="{520AEDBA-0C6E-4517-B32E-18C974D5E688}" dt="2023-08-23T12:28:15.898" v="262" actId="27636"/>
        <pc:sldMkLst>
          <pc:docMk/>
          <pc:sldMk cId="3865136024" sldId="604"/>
        </pc:sldMkLst>
        <pc:spChg chg="mod">
          <ac:chgData name="Peter Eichenberger" userId="728f4d23-4a61-4401-9315-f0ce5ffabd34" providerId="ADAL" clId="{520AEDBA-0C6E-4517-B32E-18C974D5E688}" dt="2023-08-23T12:28:15.898" v="262" actId="27636"/>
          <ac:spMkLst>
            <pc:docMk/>
            <pc:sldMk cId="3865136024" sldId="604"/>
            <ac:spMk id="6" creationId="{00000000-0000-0000-0000-000000000000}"/>
          </ac:spMkLst>
        </pc:spChg>
      </pc:sldChg>
    </pc:docChg>
  </pc:docChgLst>
  <pc:docChgLst>
    <pc:chgData name="Sebastian Müller" userId="b739b721-6f6e-43c9-9858-ba206fad85d1" providerId="ADAL" clId="{BDB60432-C041-4B8D-AF1C-C7EFCE32D45F}"/>
    <pc:docChg chg="modSld">
      <pc:chgData name="Sebastian Müller" userId="b739b721-6f6e-43c9-9858-ba206fad85d1" providerId="ADAL" clId="{BDB60432-C041-4B8D-AF1C-C7EFCE32D45F}" dt="2023-09-26T06:46:56.779" v="2" actId="20577"/>
      <pc:docMkLst>
        <pc:docMk/>
      </pc:docMkLst>
      <pc:sldChg chg="modSp mod">
        <pc:chgData name="Sebastian Müller" userId="b739b721-6f6e-43c9-9858-ba206fad85d1" providerId="ADAL" clId="{BDB60432-C041-4B8D-AF1C-C7EFCE32D45F}" dt="2023-09-26T06:46:41.017" v="1" actId="20577"/>
        <pc:sldMkLst>
          <pc:docMk/>
          <pc:sldMk cId="993724589" sldId="579"/>
        </pc:sldMkLst>
        <pc:spChg chg="mod">
          <ac:chgData name="Sebastian Müller" userId="b739b721-6f6e-43c9-9858-ba206fad85d1" providerId="ADAL" clId="{BDB60432-C041-4B8D-AF1C-C7EFCE32D45F}" dt="2023-09-26T06:46:41.017" v="1" actId="20577"/>
          <ac:spMkLst>
            <pc:docMk/>
            <pc:sldMk cId="993724589" sldId="579"/>
            <ac:spMk id="6" creationId="{00000000-0000-0000-0000-000000000000}"/>
          </ac:spMkLst>
        </pc:spChg>
      </pc:sldChg>
      <pc:sldChg chg="modSp mod">
        <pc:chgData name="Sebastian Müller" userId="b739b721-6f6e-43c9-9858-ba206fad85d1" providerId="ADAL" clId="{BDB60432-C041-4B8D-AF1C-C7EFCE32D45F}" dt="2023-09-26T06:46:56.779" v="2" actId="20577"/>
        <pc:sldMkLst>
          <pc:docMk/>
          <pc:sldMk cId="526961079" sldId="587"/>
        </pc:sldMkLst>
        <pc:spChg chg="mod">
          <ac:chgData name="Sebastian Müller" userId="b739b721-6f6e-43c9-9858-ba206fad85d1" providerId="ADAL" clId="{BDB60432-C041-4B8D-AF1C-C7EFCE32D45F}" dt="2023-09-26T06:46:56.779" v="2" actId="20577"/>
          <ac:spMkLst>
            <pc:docMk/>
            <pc:sldMk cId="526961079" sldId="587"/>
            <ac:spMk id="9" creationId="{00000000-0000-0000-0000-000000000000}"/>
          </ac:spMkLst>
        </pc:spChg>
      </pc:sldChg>
      <pc:sldChg chg="modSp mod">
        <pc:chgData name="Sebastian Müller" userId="b739b721-6f6e-43c9-9858-ba206fad85d1" providerId="ADAL" clId="{BDB60432-C041-4B8D-AF1C-C7EFCE32D45F}" dt="2023-09-26T06:46:26.041" v="0" actId="20577"/>
        <pc:sldMkLst>
          <pc:docMk/>
          <pc:sldMk cId="3742742669" sldId="606"/>
        </pc:sldMkLst>
        <pc:spChg chg="mod">
          <ac:chgData name="Sebastian Müller" userId="b739b721-6f6e-43c9-9858-ba206fad85d1" providerId="ADAL" clId="{BDB60432-C041-4B8D-AF1C-C7EFCE32D45F}" dt="2023-09-26T06:46:26.041" v="0" actId="20577"/>
          <ac:spMkLst>
            <pc:docMk/>
            <pc:sldMk cId="3742742669" sldId="606"/>
            <ac:spMk id="5" creationId="{F0A65CD9-C530-9AFB-3BEA-4265C3FFE884}"/>
          </ac:spMkLst>
        </pc:spChg>
      </pc:sldChg>
    </pc:docChg>
  </pc:docChgLst>
  <pc:docChgLst>
    <pc:chgData name="Peter Eichenberger" userId="728f4d23-4a61-4401-9315-f0ce5ffabd34" providerId="ADAL" clId="{255E8B6A-517D-40F8-8E40-C3F69FE10DF6}"/>
    <pc:docChg chg="undo redo custSel addSld delSld modSld sldOrd replTag">
      <pc:chgData name="Peter Eichenberger" userId="728f4d23-4a61-4401-9315-f0ce5ffabd34" providerId="ADAL" clId="{255E8B6A-517D-40F8-8E40-C3F69FE10DF6}" dt="2023-09-25T14:52:25.802" v="8668" actId="1076"/>
      <pc:docMkLst>
        <pc:docMk/>
      </pc:docMkLst>
      <pc:sldChg chg="addSp modSp mod modAnim">
        <pc:chgData name="Peter Eichenberger" userId="728f4d23-4a61-4401-9315-f0ce5ffabd34" providerId="ADAL" clId="{255E8B6A-517D-40F8-8E40-C3F69FE10DF6}" dt="2023-09-24T19:46:19.610" v="2606"/>
        <pc:sldMkLst>
          <pc:docMk/>
          <pc:sldMk cId="3749842885" sldId="307"/>
        </pc:sldMkLst>
        <pc:spChg chg="mod">
          <ac:chgData name="Peter Eichenberger" userId="728f4d23-4a61-4401-9315-f0ce5ffabd34" providerId="ADAL" clId="{255E8B6A-517D-40F8-8E40-C3F69FE10DF6}" dt="2023-09-24T19:37:01.673" v="2332" actId="6549"/>
          <ac:spMkLst>
            <pc:docMk/>
            <pc:sldMk cId="3749842885" sldId="307"/>
            <ac:spMk id="6" creationId="{00000000-0000-0000-0000-000000000000}"/>
          </ac:spMkLst>
        </pc:spChg>
        <pc:spChg chg="add mod">
          <ac:chgData name="Peter Eichenberger" userId="728f4d23-4a61-4401-9315-f0ce5ffabd34" providerId="ADAL" clId="{255E8B6A-517D-40F8-8E40-C3F69FE10DF6}" dt="2023-09-24T19:37:18.874" v="2335" actId="20577"/>
          <ac:spMkLst>
            <pc:docMk/>
            <pc:sldMk cId="3749842885" sldId="307"/>
            <ac:spMk id="8" creationId="{F69DA708-2C25-A15B-D75D-7E4F44E2728B}"/>
          </ac:spMkLst>
        </pc:spChg>
      </pc:sldChg>
      <pc:sldChg chg="del">
        <pc:chgData name="Peter Eichenberger" userId="728f4d23-4a61-4401-9315-f0ce5ffabd34" providerId="ADAL" clId="{255E8B6A-517D-40F8-8E40-C3F69FE10DF6}" dt="2023-09-24T19:51:49.503" v="3090" actId="2696"/>
        <pc:sldMkLst>
          <pc:docMk/>
          <pc:sldMk cId="549583043" sldId="362"/>
        </pc:sldMkLst>
      </pc:sldChg>
      <pc:sldChg chg="addSp delSp modSp add mod delAnim modAnim">
        <pc:chgData name="Peter Eichenberger" userId="728f4d23-4a61-4401-9315-f0ce5ffabd34" providerId="ADAL" clId="{255E8B6A-517D-40F8-8E40-C3F69FE10DF6}" dt="2023-09-24T20:35:43.067" v="4714" actId="14100"/>
        <pc:sldMkLst>
          <pc:docMk/>
          <pc:sldMk cId="2021197000" sldId="362"/>
        </pc:sldMkLst>
        <pc:spChg chg="mod ord">
          <ac:chgData name="Peter Eichenberger" userId="728f4d23-4a61-4401-9315-f0ce5ffabd34" providerId="ADAL" clId="{255E8B6A-517D-40F8-8E40-C3F69FE10DF6}" dt="2023-09-24T20:17:39.448" v="4072"/>
          <ac:spMkLst>
            <pc:docMk/>
            <pc:sldMk cId="2021197000" sldId="362"/>
            <ac:spMk id="2" creationId="{57D58146-C86B-4913-835D-3488E9F0C97F}"/>
          </ac:spMkLst>
        </pc:spChg>
        <pc:spChg chg="mod ord">
          <ac:chgData name="Peter Eichenberger" userId="728f4d23-4a61-4401-9315-f0ce5ffabd34" providerId="ADAL" clId="{255E8B6A-517D-40F8-8E40-C3F69FE10DF6}" dt="2023-09-24T20:17:39.448" v="4074"/>
          <ac:spMkLst>
            <pc:docMk/>
            <pc:sldMk cId="2021197000" sldId="362"/>
            <ac:spMk id="3" creationId="{AD17841F-550E-413B-BAC0-EC96B7E4D228}"/>
          </ac:spMkLst>
        </pc:spChg>
        <pc:spChg chg="del">
          <ac:chgData name="Peter Eichenberger" userId="728f4d23-4a61-4401-9315-f0ce5ffabd34" providerId="ADAL" clId="{255E8B6A-517D-40F8-8E40-C3F69FE10DF6}" dt="2023-09-24T20:08:29.982" v="3531" actId="478"/>
          <ac:spMkLst>
            <pc:docMk/>
            <pc:sldMk cId="2021197000" sldId="362"/>
            <ac:spMk id="4" creationId="{37F207D4-58C8-4EB9-AED3-2577960CACF9}"/>
          </ac:spMkLst>
        </pc:spChg>
        <pc:spChg chg="del">
          <ac:chgData name="Peter Eichenberger" userId="728f4d23-4a61-4401-9315-f0ce5ffabd34" providerId="ADAL" clId="{255E8B6A-517D-40F8-8E40-C3F69FE10DF6}" dt="2023-09-24T20:08:32.378" v="3532" actId="478"/>
          <ac:spMkLst>
            <pc:docMk/>
            <pc:sldMk cId="2021197000" sldId="362"/>
            <ac:spMk id="5" creationId="{6D819D9B-4306-4552-8B4E-D157BDE3C22A}"/>
          </ac:spMkLst>
        </pc:spChg>
        <pc:spChg chg="mod ord">
          <ac:chgData name="Peter Eichenberger" userId="728f4d23-4a61-4401-9315-f0ce5ffabd34" providerId="ADAL" clId="{255E8B6A-517D-40F8-8E40-C3F69FE10DF6}" dt="2023-09-24T20:17:39.449" v="4083"/>
          <ac:spMkLst>
            <pc:docMk/>
            <pc:sldMk cId="2021197000" sldId="362"/>
            <ac:spMk id="9" creationId="{B86603EF-0889-5EA4-3D1A-2A9C9968727E}"/>
          </ac:spMkLst>
        </pc:spChg>
        <pc:spChg chg="mod ord">
          <ac:chgData name="Peter Eichenberger" userId="728f4d23-4a61-4401-9315-f0ce5ffabd34" providerId="ADAL" clId="{255E8B6A-517D-40F8-8E40-C3F69FE10DF6}" dt="2023-09-24T20:17:39.450" v="4085"/>
          <ac:spMkLst>
            <pc:docMk/>
            <pc:sldMk cId="2021197000" sldId="362"/>
            <ac:spMk id="11" creationId="{1CB21CF9-EF9F-422D-DE6D-9A93B1B35D9C}"/>
          </ac:spMkLst>
        </pc:spChg>
        <pc:spChg chg="add del mod modVis">
          <ac:chgData name="Peter Eichenberger" userId="728f4d23-4a61-4401-9315-f0ce5ffabd34" providerId="ADAL" clId="{255E8B6A-517D-40F8-8E40-C3F69FE10DF6}" dt="2023-09-24T20:10:18.800" v="3597"/>
          <ac:spMkLst>
            <pc:docMk/>
            <pc:sldMk cId="2021197000" sldId="362"/>
            <ac:spMk id="13" creationId="{7F36457E-D030-56A0-01A4-6711960A2A34}"/>
          </ac:spMkLst>
        </pc:spChg>
        <pc:spChg chg="del mod ord">
          <ac:chgData name="Peter Eichenberger" userId="728f4d23-4a61-4401-9315-f0ce5ffabd34" providerId="ADAL" clId="{255E8B6A-517D-40F8-8E40-C3F69FE10DF6}" dt="2023-09-24T20:19:19.932" v="4135" actId="478"/>
          <ac:spMkLst>
            <pc:docMk/>
            <pc:sldMk cId="2021197000" sldId="362"/>
            <ac:spMk id="15" creationId="{2C6BABF8-D48D-A640-9C55-565374651C9D}"/>
          </ac:spMkLst>
        </pc:spChg>
        <pc:spChg chg="mod ord topLvl">
          <ac:chgData name="Peter Eichenberger" userId="728f4d23-4a61-4401-9315-f0ce5ffabd34" providerId="ADAL" clId="{255E8B6A-517D-40F8-8E40-C3F69FE10DF6}" dt="2023-09-24T20:17:39.450" v="4087"/>
          <ac:spMkLst>
            <pc:docMk/>
            <pc:sldMk cId="2021197000" sldId="362"/>
            <ac:spMk id="16" creationId="{43C59CC1-116A-4ACD-949C-81B24702EFFD}"/>
          </ac:spMkLst>
        </pc:spChg>
        <pc:spChg chg="add del mod modVis">
          <ac:chgData name="Peter Eichenberger" userId="728f4d23-4a61-4401-9315-f0ce5ffabd34" providerId="ADAL" clId="{255E8B6A-517D-40F8-8E40-C3F69FE10DF6}" dt="2023-09-24T20:10:47.383" v="3644"/>
          <ac:spMkLst>
            <pc:docMk/>
            <pc:sldMk cId="2021197000" sldId="362"/>
            <ac:spMk id="18" creationId="{C79F76D4-4519-86B4-E9A6-21A334CA2972}"/>
          </ac:spMkLst>
        </pc:spChg>
        <pc:spChg chg="add del mod modVis">
          <ac:chgData name="Peter Eichenberger" userId="728f4d23-4a61-4401-9315-f0ce5ffabd34" providerId="ADAL" clId="{255E8B6A-517D-40F8-8E40-C3F69FE10DF6}" dt="2023-09-24T20:11:12.329" v="3683"/>
          <ac:spMkLst>
            <pc:docMk/>
            <pc:sldMk cId="2021197000" sldId="362"/>
            <ac:spMk id="21" creationId="{4AF474FA-14EC-F6E0-F8DE-DEAFE663A299}"/>
          </ac:spMkLst>
        </pc:spChg>
        <pc:spChg chg="add del mod modVis">
          <ac:chgData name="Peter Eichenberger" userId="728f4d23-4a61-4401-9315-f0ce5ffabd34" providerId="ADAL" clId="{255E8B6A-517D-40F8-8E40-C3F69FE10DF6}" dt="2023-09-24T20:11:12.910" v="3712"/>
          <ac:spMkLst>
            <pc:docMk/>
            <pc:sldMk cId="2021197000" sldId="362"/>
            <ac:spMk id="22" creationId="{5C94676A-2931-0D2C-54D1-6AC7A5BA53ED}"/>
          </ac:spMkLst>
        </pc:spChg>
        <pc:spChg chg="add mod ord">
          <ac:chgData name="Peter Eichenberger" userId="728f4d23-4a61-4401-9315-f0ce5ffabd34" providerId="ADAL" clId="{255E8B6A-517D-40F8-8E40-C3F69FE10DF6}" dt="2023-09-24T20:19:17.394" v="4134" actId="1076"/>
          <ac:spMkLst>
            <pc:docMk/>
            <pc:sldMk cId="2021197000" sldId="362"/>
            <ac:spMk id="29" creationId="{9A22D2F3-9D1C-1F1B-6C53-1E8D6F0F74EB}"/>
          </ac:spMkLst>
        </pc:spChg>
        <pc:spChg chg="add mod">
          <ac:chgData name="Peter Eichenberger" userId="728f4d23-4a61-4401-9315-f0ce5ffabd34" providerId="ADAL" clId="{255E8B6A-517D-40F8-8E40-C3F69FE10DF6}" dt="2023-09-24T20:34:47.241" v="4707" actId="255"/>
          <ac:spMkLst>
            <pc:docMk/>
            <pc:sldMk cId="2021197000" sldId="362"/>
            <ac:spMk id="33" creationId="{3100CF17-8AA0-C21B-79BD-0A85CE957976}"/>
          </ac:spMkLst>
        </pc:spChg>
        <pc:spChg chg="add del mod">
          <ac:chgData name="Peter Eichenberger" userId="728f4d23-4a61-4401-9315-f0ce5ffabd34" providerId="ADAL" clId="{255E8B6A-517D-40F8-8E40-C3F69FE10DF6}" dt="2023-09-24T20:35:03.120" v="4711"/>
          <ac:spMkLst>
            <pc:docMk/>
            <pc:sldMk cId="2021197000" sldId="362"/>
            <ac:spMk id="34" creationId="{90846895-6AC5-6FC0-AD86-F37883E84C79}"/>
          </ac:spMkLst>
        </pc:spChg>
        <pc:grpChg chg="del mod ord">
          <ac:chgData name="Peter Eichenberger" userId="728f4d23-4a61-4401-9315-f0ce5ffabd34" providerId="ADAL" clId="{255E8B6A-517D-40F8-8E40-C3F69FE10DF6}" dt="2023-09-24T20:12:00.619" v="3749" actId="165"/>
          <ac:grpSpMkLst>
            <pc:docMk/>
            <pc:sldMk cId="2021197000" sldId="362"/>
            <ac:grpSpMk id="19" creationId="{8167F97F-9289-4FD3-9CAD-D8006F0D5F25}"/>
          </ac:grpSpMkLst>
        </pc:grpChg>
        <pc:grpChg chg="del mod">
          <ac:chgData name="Peter Eichenberger" userId="728f4d23-4a61-4401-9315-f0ce5ffabd34" providerId="ADAL" clId="{255E8B6A-517D-40F8-8E40-C3F69FE10DF6}" dt="2023-09-24T20:09:12.965" v="3536" actId="165"/>
          <ac:grpSpMkLst>
            <pc:docMk/>
            <pc:sldMk cId="2021197000" sldId="362"/>
            <ac:grpSpMk id="28" creationId="{980E8C5D-FF94-44B2-817B-3465022DEE37}"/>
          </ac:grpSpMkLst>
        </pc:grpChg>
        <pc:graphicFrameChg chg="add mod ord modVis replST">
          <ac:chgData name="Peter Eichenberger" userId="728f4d23-4a61-4401-9315-f0ce5ffabd34" providerId="ADAL" clId="{255E8B6A-517D-40F8-8E40-C3F69FE10DF6}" dt="2023-09-24T20:17:39.454" v="4099"/>
          <ac:graphicFrameMkLst>
            <pc:docMk/>
            <pc:sldMk cId="2021197000" sldId="362"/>
            <ac:graphicFrameMk id="14" creationId="{7AE5CC0C-3582-7882-ECC2-FE91E9075FB9}"/>
          </ac:graphicFrameMkLst>
        </pc:graphicFrameChg>
        <pc:picChg chg="add mod ord">
          <ac:chgData name="Peter Eichenberger" userId="728f4d23-4a61-4401-9315-f0ce5ffabd34" providerId="ADAL" clId="{255E8B6A-517D-40F8-8E40-C3F69FE10DF6}" dt="2023-09-24T20:17:39.449" v="4080"/>
          <ac:picMkLst>
            <pc:docMk/>
            <pc:sldMk cId="2021197000" sldId="362"/>
            <ac:picMk id="7" creationId="{4D25131E-E35B-0878-3697-D8D4314A8539}"/>
          </ac:picMkLst>
        </pc:picChg>
        <pc:picChg chg="del">
          <ac:chgData name="Peter Eichenberger" userId="728f4d23-4a61-4401-9315-f0ce5ffabd34" providerId="ADAL" clId="{255E8B6A-517D-40F8-8E40-C3F69FE10DF6}" dt="2023-09-24T20:08:08.852" v="3527" actId="478"/>
          <ac:picMkLst>
            <pc:docMk/>
            <pc:sldMk cId="2021197000" sldId="362"/>
            <ac:picMk id="8" creationId="{9AAF77C9-BE15-4D76-9641-C2FE1142DD98}"/>
          </ac:picMkLst>
        </pc:picChg>
        <pc:picChg chg="mod ord">
          <ac:chgData name="Peter Eichenberger" userId="728f4d23-4a61-4401-9315-f0ce5ffabd34" providerId="ADAL" clId="{255E8B6A-517D-40F8-8E40-C3F69FE10DF6}" dt="2023-09-24T20:17:39.448" v="4070"/>
          <ac:picMkLst>
            <pc:docMk/>
            <pc:sldMk cId="2021197000" sldId="362"/>
            <ac:picMk id="10" creationId="{026A22BF-5372-4FFA-A92F-A66FB82E103D}"/>
          </ac:picMkLst>
        </pc:picChg>
        <pc:picChg chg="mod ord topLvl">
          <ac:chgData name="Peter Eichenberger" userId="728f4d23-4a61-4401-9315-f0ce5ffabd34" providerId="ADAL" clId="{255E8B6A-517D-40F8-8E40-C3F69FE10DF6}" dt="2023-09-24T20:17:39.448" v="4076"/>
          <ac:picMkLst>
            <pc:docMk/>
            <pc:sldMk cId="2021197000" sldId="362"/>
            <ac:picMk id="20" creationId="{4086981C-D587-4BAB-9665-B57921CE562B}"/>
          </ac:picMkLst>
        </pc:picChg>
        <pc:picChg chg="add mod">
          <ac:chgData name="Peter Eichenberger" userId="728f4d23-4a61-4401-9315-f0ce5ffabd34" providerId="ADAL" clId="{255E8B6A-517D-40F8-8E40-C3F69FE10DF6}" dt="2023-09-24T20:35:43.067" v="4714" actId="14100"/>
          <ac:picMkLst>
            <pc:docMk/>
            <pc:sldMk cId="2021197000" sldId="362"/>
            <ac:picMk id="3074" creationId="{86FF2ED3-FA7F-3229-070B-D691F44CA88D}"/>
          </ac:picMkLst>
        </pc:picChg>
        <pc:cxnChg chg="mod ord">
          <ac:chgData name="Peter Eichenberger" userId="728f4d23-4a61-4401-9315-f0ce5ffabd34" providerId="ADAL" clId="{255E8B6A-517D-40F8-8E40-C3F69FE10DF6}" dt="2023-09-24T20:17:39.451" v="4091"/>
          <ac:cxnSpMkLst>
            <pc:docMk/>
            <pc:sldMk cId="2021197000" sldId="362"/>
            <ac:cxnSpMk id="12" creationId="{D00C71BF-0D76-471B-916B-445178C86EC5}"/>
          </ac:cxnSpMkLst>
        </pc:cxnChg>
        <pc:cxnChg chg="mod ord topLvl">
          <ac:chgData name="Peter Eichenberger" userId="728f4d23-4a61-4401-9315-f0ce5ffabd34" providerId="ADAL" clId="{255E8B6A-517D-40F8-8E40-C3F69FE10DF6}" dt="2023-09-24T20:17:39.450" v="4089"/>
          <ac:cxnSpMkLst>
            <pc:docMk/>
            <pc:sldMk cId="2021197000" sldId="362"/>
            <ac:cxnSpMk id="17" creationId="{8EE96F64-981B-4F73-977C-7130AB7B3B15}"/>
          </ac:cxnSpMkLst>
        </pc:cxnChg>
        <pc:cxnChg chg="mod ord topLvl">
          <ac:chgData name="Peter Eichenberger" userId="728f4d23-4a61-4401-9315-f0ce5ffabd34" providerId="ADAL" clId="{255E8B6A-517D-40F8-8E40-C3F69FE10DF6}" dt="2023-09-24T20:17:39.451" v="4093"/>
          <ac:cxnSpMkLst>
            <pc:docMk/>
            <pc:sldMk cId="2021197000" sldId="362"/>
            <ac:cxnSpMk id="24" creationId="{DB87669D-0F2F-4512-8843-7AB0262034B9}"/>
          </ac:cxnSpMkLst>
        </pc:cxnChg>
      </pc:sldChg>
      <pc:sldChg chg="del">
        <pc:chgData name="Peter Eichenberger" userId="728f4d23-4a61-4401-9315-f0ce5ffabd34" providerId="ADAL" clId="{255E8B6A-517D-40F8-8E40-C3F69FE10DF6}" dt="2023-09-24T19:25:01.503" v="2197" actId="2696"/>
        <pc:sldMkLst>
          <pc:docMk/>
          <pc:sldMk cId="878978948" sldId="484"/>
        </pc:sldMkLst>
      </pc:sldChg>
      <pc:sldChg chg="modSp add del mod">
        <pc:chgData name="Peter Eichenberger" userId="728f4d23-4a61-4401-9315-f0ce5ffabd34" providerId="ADAL" clId="{255E8B6A-517D-40F8-8E40-C3F69FE10DF6}" dt="2023-09-24T21:42:57.195" v="7425" actId="47"/>
        <pc:sldMkLst>
          <pc:docMk/>
          <pc:sldMk cId="3299824850" sldId="484"/>
        </pc:sldMkLst>
        <pc:picChg chg="mod">
          <ac:chgData name="Peter Eichenberger" userId="728f4d23-4a61-4401-9315-f0ce5ffabd34" providerId="ADAL" clId="{255E8B6A-517D-40F8-8E40-C3F69FE10DF6}" dt="2023-09-24T21:42:51.396" v="7424" actId="14100"/>
          <ac:picMkLst>
            <pc:docMk/>
            <pc:sldMk cId="3299824850" sldId="484"/>
            <ac:picMk id="9" creationId="{CFD332E1-681F-4EF2-B425-0CB45FADE53E}"/>
          </ac:picMkLst>
        </pc:picChg>
      </pc:sldChg>
      <pc:sldChg chg="modSp add del mod">
        <pc:chgData name="Peter Eichenberger" userId="728f4d23-4a61-4401-9315-f0ce5ffabd34" providerId="ADAL" clId="{255E8B6A-517D-40F8-8E40-C3F69FE10DF6}" dt="2023-09-24T21:42:57.195" v="7425" actId="47"/>
        <pc:sldMkLst>
          <pc:docMk/>
          <pc:sldMk cId="1988421429" sldId="514"/>
        </pc:sldMkLst>
        <pc:picChg chg="mod">
          <ac:chgData name="Peter Eichenberger" userId="728f4d23-4a61-4401-9315-f0ce5ffabd34" providerId="ADAL" clId="{255E8B6A-517D-40F8-8E40-C3F69FE10DF6}" dt="2023-09-24T21:33:37.421" v="6897" actId="1076"/>
          <ac:picMkLst>
            <pc:docMk/>
            <pc:sldMk cId="1988421429" sldId="514"/>
            <ac:picMk id="13" creationId="{00000000-0000-0000-0000-000000000000}"/>
          </ac:picMkLst>
        </pc:picChg>
      </pc:sldChg>
      <pc:sldChg chg="del">
        <pc:chgData name="Peter Eichenberger" userId="728f4d23-4a61-4401-9315-f0ce5ffabd34" providerId="ADAL" clId="{255E8B6A-517D-40F8-8E40-C3F69FE10DF6}" dt="2023-09-24T19:25:01.503" v="2197" actId="2696"/>
        <pc:sldMkLst>
          <pc:docMk/>
          <pc:sldMk cId="2352652887" sldId="514"/>
        </pc:sldMkLst>
      </pc:sldChg>
      <pc:sldChg chg="del">
        <pc:chgData name="Peter Eichenberger" userId="728f4d23-4a61-4401-9315-f0ce5ffabd34" providerId="ADAL" clId="{255E8B6A-517D-40F8-8E40-C3F69FE10DF6}" dt="2023-09-24T19:25:01.503" v="2197" actId="2696"/>
        <pc:sldMkLst>
          <pc:docMk/>
          <pc:sldMk cId="1252968542" sldId="516"/>
        </pc:sldMkLst>
      </pc:sldChg>
      <pc:sldChg chg="add del">
        <pc:chgData name="Peter Eichenberger" userId="728f4d23-4a61-4401-9315-f0ce5ffabd34" providerId="ADAL" clId="{255E8B6A-517D-40F8-8E40-C3F69FE10DF6}" dt="2023-09-24T21:42:57.195" v="7425" actId="47"/>
        <pc:sldMkLst>
          <pc:docMk/>
          <pc:sldMk cId="3689742737" sldId="516"/>
        </pc:sldMkLst>
      </pc:sldChg>
      <pc:sldChg chg="modSp del mod">
        <pc:chgData name="Peter Eichenberger" userId="728f4d23-4a61-4401-9315-f0ce5ffabd34" providerId="ADAL" clId="{255E8B6A-517D-40F8-8E40-C3F69FE10DF6}" dt="2023-09-24T21:00:31.875" v="5413" actId="47"/>
        <pc:sldMkLst>
          <pc:docMk/>
          <pc:sldMk cId="1797655856" sldId="522"/>
        </pc:sldMkLst>
        <pc:spChg chg="mod">
          <ac:chgData name="Peter Eichenberger" userId="728f4d23-4a61-4401-9315-f0ce5ffabd34" providerId="ADAL" clId="{255E8B6A-517D-40F8-8E40-C3F69FE10DF6}" dt="2023-09-24T20:37:13.913" v="4729"/>
          <ac:spMkLst>
            <pc:docMk/>
            <pc:sldMk cId="1797655856" sldId="522"/>
            <ac:spMk id="9" creationId="{00000000-0000-0000-0000-000000000000}"/>
          </ac:spMkLst>
        </pc:spChg>
      </pc:sldChg>
      <pc:sldChg chg="addSp delSp modSp mod modAnim">
        <pc:chgData name="Peter Eichenberger" userId="728f4d23-4a61-4401-9315-f0ce5ffabd34" providerId="ADAL" clId="{255E8B6A-517D-40F8-8E40-C3F69FE10DF6}" dt="2023-09-24T21:27:34.093" v="6815" actId="20577"/>
        <pc:sldMkLst>
          <pc:docMk/>
          <pc:sldMk cId="864088383" sldId="526"/>
        </pc:sldMkLst>
        <pc:spChg chg="add mod">
          <ac:chgData name="Peter Eichenberger" userId="728f4d23-4a61-4401-9315-f0ce5ffabd34" providerId="ADAL" clId="{255E8B6A-517D-40F8-8E40-C3F69FE10DF6}" dt="2023-09-24T21:27:34.093" v="6815" actId="20577"/>
          <ac:spMkLst>
            <pc:docMk/>
            <pc:sldMk cId="864088383" sldId="526"/>
            <ac:spMk id="6" creationId="{7417ABD8-1DCC-BAC7-1482-35CD77A363D3}"/>
          </ac:spMkLst>
        </pc:spChg>
        <pc:spChg chg="mod">
          <ac:chgData name="Peter Eichenberger" userId="728f4d23-4a61-4401-9315-f0ce5ffabd34" providerId="ADAL" clId="{255E8B6A-517D-40F8-8E40-C3F69FE10DF6}" dt="2023-09-24T21:25:14.373" v="6519" actId="20577"/>
          <ac:spMkLst>
            <pc:docMk/>
            <pc:sldMk cId="864088383" sldId="526"/>
            <ac:spMk id="7" creationId="{00000000-0000-0000-0000-000000000000}"/>
          </ac:spMkLst>
        </pc:spChg>
        <pc:spChg chg="add mod">
          <ac:chgData name="Peter Eichenberger" userId="728f4d23-4a61-4401-9315-f0ce5ffabd34" providerId="ADAL" clId="{255E8B6A-517D-40F8-8E40-C3F69FE10DF6}" dt="2023-09-24T21:22:47.048" v="6385" actId="20577"/>
          <ac:spMkLst>
            <pc:docMk/>
            <pc:sldMk cId="864088383" sldId="526"/>
            <ac:spMk id="8" creationId="{2CB9E334-4B3B-7241-1E8C-F59CED4274FC}"/>
          </ac:spMkLst>
        </pc:spChg>
        <pc:spChg chg="mod">
          <ac:chgData name="Peter Eichenberger" userId="728f4d23-4a61-4401-9315-f0ce5ffabd34" providerId="ADAL" clId="{255E8B6A-517D-40F8-8E40-C3F69FE10DF6}" dt="2023-09-24T20:37:04.618" v="4725"/>
          <ac:spMkLst>
            <pc:docMk/>
            <pc:sldMk cId="864088383" sldId="526"/>
            <ac:spMk id="11" creationId="{00000000-0000-0000-0000-000000000000}"/>
          </ac:spMkLst>
        </pc:spChg>
        <pc:spChg chg="mod">
          <ac:chgData name="Peter Eichenberger" userId="728f4d23-4a61-4401-9315-f0ce5ffabd34" providerId="ADAL" clId="{255E8B6A-517D-40F8-8E40-C3F69FE10DF6}" dt="2023-09-24T21:24:45.740" v="6487" actId="207"/>
          <ac:spMkLst>
            <pc:docMk/>
            <pc:sldMk cId="864088383" sldId="526"/>
            <ac:spMk id="12" creationId="{00000000-0000-0000-0000-000000000000}"/>
          </ac:spMkLst>
        </pc:spChg>
        <pc:spChg chg="del">
          <ac:chgData name="Peter Eichenberger" userId="728f4d23-4a61-4401-9315-f0ce5ffabd34" providerId="ADAL" clId="{255E8B6A-517D-40F8-8E40-C3F69FE10DF6}" dt="2023-09-24T21:12:09.677" v="5862" actId="478"/>
          <ac:spMkLst>
            <pc:docMk/>
            <pc:sldMk cId="864088383" sldId="526"/>
            <ac:spMk id="13" creationId="{00000000-0000-0000-0000-000000000000}"/>
          </ac:spMkLst>
        </pc:spChg>
        <pc:spChg chg="del">
          <ac:chgData name="Peter Eichenberger" userId="728f4d23-4a61-4401-9315-f0ce5ffabd34" providerId="ADAL" clId="{255E8B6A-517D-40F8-8E40-C3F69FE10DF6}" dt="2023-09-24T21:12:07.030" v="5860" actId="478"/>
          <ac:spMkLst>
            <pc:docMk/>
            <pc:sldMk cId="864088383" sldId="526"/>
            <ac:spMk id="14" creationId="{00000000-0000-0000-0000-000000000000}"/>
          </ac:spMkLst>
        </pc:spChg>
        <pc:picChg chg="del">
          <ac:chgData name="Peter Eichenberger" userId="728f4d23-4a61-4401-9315-f0ce5ffabd34" providerId="ADAL" clId="{255E8B6A-517D-40F8-8E40-C3F69FE10DF6}" dt="2023-09-24T21:12:07.856" v="5861" actId="478"/>
          <ac:picMkLst>
            <pc:docMk/>
            <pc:sldMk cId="864088383" sldId="526"/>
            <ac:picMk id="15" creationId="{00000000-0000-0000-0000-000000000000}"/>
          </ac:picMkLst>
        </pc:picChg>
      </pc:sldChg>
      <pc:sldChg chg="del">
        <pc:chgData name="Peter Eichenberger" userId="728f4d23-4a61-4401-9315-f0ce5ffabd34" providerId="ADAL" clId="{255E8B6A-517D-40F8-8E40-C3F69FE10DF6}" dt="2023-09-24T19:23:04.197" v="2184" actId="47"/>
        <pc:sldMkLst>
          <pc:docMk/>
          <pc:sldMk cId="3888952737" sldId="528"/>
        </pc:sldMkLst>
      </pc:sldChg>
      <pc:sldChg chg="add del">
        <pc:chgData name="Peter Eichenberger" userId="728f4d23-4a61-4401-9315-f0ce5ffabd34" providerId="ADAL" clId="{255E8B6A-517D-40F8-8E40-C3F69FE10DF6}" dt="2023-09-24T21:42:57.195" v="7425" actId="47"/>
        <pc:sldMkLst>
          <pc:docMk/>
          <pc:sldMk cId="435303717" sldId="531"/>
        </pc:sldMkLst>
      </pc:sldChg>
      <pc:sldChg chg="del">
        <pc:chgData name="Peter Eichenberger" userId="728f4d23-4a61-4401-9315-f0ce5ffabd34" providerId="ADAL" clId="{255E8B6A-517D-40F8-8E40-C3F69FE10DF6}" dt="2023-09-24T19:25:01.503" v="2197" actId="2696"/>
        <pc:sldMkLst>
          <pc:docMk/>
          <pc:sldMk cId="1936084933" sldId="531"/>
        </pc:sldMkLst>
      </pc:sldChg>
      <pc:sldChg chg="del">
        <pc:chgData name="Peter Eichenberger" userId="728f4d23-4a61-4401-9315-f0ce5ffabd34" providerId="ADAL" clId="{255E8B6A-517D-40F8-8E40-C3F69FE10DF6}" dt="2023-09-24T19:25:01.503" v="2197" actId="2696"/>
        <pc:sldMkLst>
          <pc:docMk/>
          <pc:sldMk cId="1706614181" sldId="532"/>
        </pc:sldMkLst>
      </pc:sldChg>
      <pc:sldChg chg="add del">
        <pc:chgData name="Peter Eichenberger" userId="728f4d23-4a61-4401-9315-f0ce5ffabd34" providerId="ADAL" clId="{255E8B6A-517D-40F8-8E40-C3F69FE10DF6}" dt="2023-09-24T21:42:57.195" v="7425" actId="47"/>
        <pc:sldMkLst>
          <pc:docMk/>
          <pc:sldMk cId="2139086665" sldId="532"/>
        </pc:sldMkLst>
      </pc:sldChg>
      <pc:sldChg chg="del">
        <pc:chgData name="Peter Eichenberger" userId="728f4d23-4a61-4401-9315-f0ce5ffabd34" providerId="ADAL" clId="{255E8B6A-517D-40F8-8E40-C3F69FE10DF6}" dt="2023-09-24T19:25:01.503" v="2197" actId="2696"/>
        <pc:sldMkLst>
          <pc:docMk/>
          <pc:sldMk cId="2455450611" sldId="536"/>
        </pc:sldMkLst>
      </pc:sldChg>
      <pc:sldChg chg="add del">
        <pc:chgData name="Peter Eichenberger" userId="728f4d23-4a61-4401-9315-f0ce5ffabd34" providerId="ADAL" clId="{255E8B6A-517D-40F8-8E40-C3F69FE10DF6}" dt="2023-09-24T21:42:57.195" v="7425" actId="47"/>
        <pc:sldMkLst>
          <pc:docMk/>
          <pc:sldMk cId="3371967076" sldId="536"/>
        </pc:sldMkLst>
      </pc:sldChg>
      <pc:sldChg chg="modSp mod">
        <pc:chgData name="Peter Eichenberger" userId="728f4d23-4a61-4401-9315-f0ce5ffabd34" providerId="ADAL" clId="{255E8B6A-517D-40F8-8E40-C3F69FE10DF6}" dt="2023-09-24T21:29:08.392" v="6871" actId="20577"/>
        <pc:sldMkLst>
          <pc:docMk/>
          <pc:sldMk cId="62524505" sldId="550"/>
        </pc:sldMkLst>
        <pc:spChg chg="mod">
          <ac:chgData name="Peter Eichenberger" userId="728f4d23-4a61-4401-9315-f0ce5ffabd34" providerId="ADAL" clId="{255E8B6A-517D-40F8-8E40-C3F69FE10DF6}" dt="2023-09-24T20:37:41.867" v="4734" actId="20577"/>
          <ac:spMkLst>
            <pc:docMk/>
            <pc:sldMk cId="62524505" sldId="550"/>
            <ac:spMk id="11" creationId="{43FF8D18-0EB3-F45F-0D5E-9851033BF7FD}"/>
          </ac:spMkLst>
        </pc:spChg>
        <pc:spChg chg="mod">
          <ac:chgData name="Peter Eichenberger" userId="728f4d23-4a61-4401-9315-f0ce5ffabd34" providerId="ADAL" clId="{255E8B6A-517D-40F8-8E40-C3F69FE10DF6}" dt="2023-09-24T21:29:08.392" v="6871" actId="20577"/>
          <ac:spMkLst>
            <pc:docMk/>
            <pc:sldMk cId="62524505" sldId="550"/>
            <ac:spMk id="19" creationId="{40B4DC4C-2B3A-525D-8EF9-53665335CEEB}"/>
          </ac:spMkLst>
        </pc:spChg>
      </pc:sldChg>
      <pc:sldChg chg="addSp delSp modSp mod ord">
        <pc:chgData name="Peter Eichenberger" userId="728f4d23-4a61-4401-9315-f0ce5ffabd34" providerId="ADAL" clId="{255E8B6A-517D-40F8-8E40-C3F69FE10DF6}" dt="2023-09-24T21:08:16.447" v="5765"/>
        <pc:sldMkLst>
          <pc:docMk/>
          <pc:sldMk cId="1153784482" sldId="553"/>
        </pc:sldMkLst>
        <pc:spChg chg="mod">
          <ac:chgData name="Peter Eichenberger" userId="728f4d23-4a61-4401-9315-f0ce5ffabd34" providerId="ADAL" clId="{255E8B6A-517D-40F8-8E40-C3F69FE10DF6}" dt="2023-09-24T21:08:16.430" v="5738" actId="948"/>
          <ac:spMkLst>
            <pc:docMk/>
            <pc:sldMk cId="1153784482" sldId="553"/>
            <ac:spMk id="5" creationId="{00000000-0000-0000-0000-000000000000}"/>
          </ac:spMkLst>
        </pc:spChg>
        <pc:spChg chg="mod">
          <ac:chgData name="Peter Eichenberger" userId="728f4d23-4a61-4401-9315-f0ce5ffabd34" providerId="ADAL" clId="{255E8B6A-517D-40F8-8E40-C3F69FE10DF6}" dt="2023-09-24T20:36:45.203" v="4718"/>
          <ac:spMkLst>
            <pc:docMk/>
            <pc:sldMk cId="1153784482" sldId="553"/>
            <ac:spMk id="7" creationId="{00000000-0000-0000-0000-000000000000}"/>
          </ac:spMkLst>
        </pc:spChg>
        <pc:spChg chg="add del mod modVis">
          <ac:chgData name="Peter Eichenberger" userId="728f4d23-4a61-4401-9315-f0ce5ffabd34" providerId="ADAL" clId="{255E8B6A-517D-40F8-8E40-C3F69FE10DF6}" dt="2023-09-24T21:07:47.881" v="5599"/>
          <ac:spMkLst>
            <pc:docMk/>
            <pc:sldMk cId="1153784482" sldId="553"/>
            <ac:spMk id="9" creationId="{C6ECE9AE-6AEC-4E9E-7C1C-C3BCBEF2991D}"/>
          </ac:spMkLst>
        </pc:spChg>
        <pc:spChg chg="add del mod modVis">
          <ac:chgData name="Peter Eichenberger" userId="728f4d23-4a61-4401-9315-f0ce5ffabd34" providerId="ADAL" clId="{255E8B6A-517D-40F8-8E40-C3F69FE10DF6}" dt="2023-09-24T21:07:50.444" v="5630"/>
          <ac:spMkLst>
            <pc:docMk/>
            <pc:sldMk cId="1153784482" sldId="553"/>
            <ac:spMk id="20" creationId="{43CA25EC-0738-3D89-C4DE-2B3C32ED29AB}"/>
          </ac:spMkLst>
        </pc:spChg>
        <pc:spChg chg="add del mod modVis">
          <ac:chgData name="Peter Eichenberger" userId="728f4d23-4a61-4401-9315-f0ce5ffabd34" providerId="ADAL" clId="{255E8B6A-517D-40F8-8E40-C3F69FE10DF6}" dt="2023-09-24T21:07:51.001" v="5659"/>
          <ac:spMkLst>
            <pc:docMk/>
            <pc:sldMk cId="1153784482" sldId="553"/>
            <ac:spMk id="23" creationId="{27044052-C27A-A2F4-44F9-E007E1A4B117}"/>
          </ac:spMkLst>
        </pc:spChg>
        <pc:spChg chg="add del mod modVis">
          <ac:chgData name="Peter Eichenberger" userId="728f4d23-4a61-4401-9315-f0ce5ffabd34" providerId="ADAL" clId="{255E8B6A-517D-40F8-8E40-C3F69FE10DF6}" dt="2023-09-24T21:08:14.489" v="5701"/>
          <ac:spMkLst>
            <pc:docMk/>
            <pc:sldMk cId="1153784482" sldId="553"/>
            <ac:spMk id="24" creationId="{1615D215-F6E9-F483-E0E3-2F7D62F03657}"/>
          </ac:spMkLst>
        </pc:spChg>
        <pc:spChg chg="add del mod modVis">
          <ac:chgData name="Peter Eichenberger" userId="728f4d23-4a61-4401-9315-f0ce5ffabd34" providerId="ADAL" clId="{255E8B6A-517D-40F8-8E40-C3F69FE10DF6}" dt="2023-09-24T21:08:15.486" v="5733"/>
          <ac:spMkLst>
            <pc:docMk/>
            <pc:sldMk cId="1153784482" sldId="553"/>
            <ac:spMk id="27" creationId="{491BE01C-0713-4EEE-EB82-D096D48F534A}"/>
          </ac:spMkLst>
        </pc:spChg>
        <pc:spChg chg="add del mod modVis">
          <ac:chgData name="Peter Eichenberger" userId="728f4d23-4a61-4401-9315-f0ce5ffabd34" providerId="ADAL" clId="{255E8B6A-517D-40F8-8E40-C3F69FE10DF6}" dt="2023-09-24T21:08:16.446" v="5763"/>
          <ac:spMkLst>
            <pc:docMk/>
            <pc:sldMk cId="1153784482" sldId="553"/>
            <ac:spMk id="28" creationId="{30FD90EF-86B9-0E5E-5DDE-8E2F2C7554CC}"/>
          </ac:spMkLst>
        </pc:spChg>
        <pc:graphicFrameChg chg="add mod ord modVis replST">
          <ac:chgData name="Peter Eichenberger" userId="728f4d23-4a61-4401-9315-f0ce5ffabd34" providerId="ADAL" clId="{255E8B6A-517D-40F8-8E40-C3F69FE10DF6}" dt="2023-09-24T21:08:16.447" v="5765"/>
          <ac:graphicFrameMkLst>
            <pc:docMk/>
            <pc:sldMk cId="1153784482" sldId="553"/>
            <ac:graphicFrameMk id="6" creationId="{06534B12-72E9-D934-0BA2-8BF87158BB56}"/>
          </ac:graphicFrameMkLst>
        </pc:graphicFrameChg>
        <pc:picChg chg="add del mod">
          <ac:chgData name="Peter Eichenberger" userId="728f4d23-4a61-4401-9315-f0ce5ffabd34" providerId="ADAL" clId="{255E8B6A-517D-40F8-8E40-C3F69FE10DF6}" dt="2023-09-24T21:07:20.268" v="5528" actId="478"/>
          <ac:picMkLst>
            <pc:docMk/>
            <pc:sldMk cId="1153784482" sldId="553"/>
            <ac:picMk id="7170" creationId="{B9615524-FC90-C9B4-91BC-FFF94354F56F}"/>
          </ac:picMkLst>
        </pc:picChg>
      </pc:sldChg>
      <pc:sldChg chg="addSp delSp modSp mod">
        <pc:chgData name="Peter Eichenberger" userId="728f4d23-4a61-4401-9315-f0ce5ffabd34" providerId="ADAL" clId="{255E8B6A-517D-40F8-8E40-C3F69FE10DF6}" dt="2023-09-24T20:42:52.897" v="4957" actId="1076"/>
        <pc:sldMkLst>
          <pc:docMk/>
          <pc:sldMk cId="1621138605" sldId="554"/>
        </pc:sldMkLst>
        <pc:spChg chg="add mod">
          <ac:chgData name="Peter Eichenberger" userId="728f4d23-4a61-4401-9315-f0ce5ffabd34" providerId="ADAL" clId="{255E8B6A-517D-40F8-8E40-C3F69FE10DF6}" dt="2023-09-24T20:42:52.897" v="4957" actId="1076"/>
          <ac:spMkLst>
            <pc:docMk/>
            <pc:sldMk cId="1621138605" sldId="554"/>
            <ac:spMk id="6" creationId="{DF174110-4C9F-7C23-4339-36114A1BAF22}"/>
          </ac:spMkLst>
        </pc:spChg>
        <pc:spChg chg="mod">
          <ac:chgData name="Peter Eichenberger" userId="728f4d23-4a61-4401-9315-f0ce5ffabd34" providerId="ADAL" clId="{255E8B6A-517D-40F8-8E40-C3F69FE10DF6}" dt="2023-09-24T20:36:35.341" v="4715"/>
          <ac:spMkLst>
            <pc:docMk/>
            <pc:sldMk cId="1621138605" sldId="554"/>
            <ac:spMk id="7" creationId="{00000000-0000-0000-0000-000000000000}"/>
          </ac:spMkLst>
        </pc:spChg>
        <pc:spChg chg="del">
          <ac:chgData name="Peter Eichenberger" userId="728f4d23-4a61-4401-9315-f0ce5ffabd34" providerId="ADAL" clId="{255E8B6A-517D-40F8-8E40-C3F69FE10DF6}" dt="2023-09-24T20:42:47.105" v="4955" actId="478"/>
          <ac:spMkLst>
            <pc:docMk/>
            <pc:sldMk cId="1621138605" sldId="554"/>
            <ac:spMk id="17" creationId="{7EB1FDE0-59C1-AFD2-5BF8-EDEF439E3955}"/>
          </ac:spMkLst>
        </pc:spChg>
      </pc:sldChg>
      <pc:sldChg chg="addSp delSp modSp mod modAnim">
        <pc:chgData name="Peter Eichenberger" userId="728f4d23-4a61-4401-9315-f0ce5ffabd34" providerId="ADAL" clId="{255E8B6A-517D-40F8-8E40-C3F69FE10DF6}" dt="2023-09-24T20:55:53.953" v="5166" actId="27636"/>
        <pc:sldMkLst>
          <pc:docMk/>
          <pc:sldMk cId="3639136353" sldId="555"/>
        </pc:sldMkLst>
        <pc:spChg chg="mod">
          <ac:chgData name="Peter Eichenberger" userId="728f4d23-4a61-4401-9315-f0ce5ffabd34" providerId="ADAL" clId="{255E8B6A-517D-40F8-8E40-C3F69FE10DF6}" dt="2023-09-24T19:48:34.998" v="3024" actId="948"/>
          <ac:spMkLst>
            <pc:docMk/>
            <pc:sldMk cId="3639136353" sldId="555"/>
            <ac:spMk id="5" creationId="{00000000-0000-0000-0000-000000000000}"/>
          </ac:spMkLst>
        </pc:spChg>
        <pc:spChg chg="mod">
          <ac:chgData name="Peter Eichenberger" userId="728f4d23-4a61-4401-9315-f0ce5ffabd34" providerId="ADAL" clId="{255E8B6A-517D-40F8-8E40-C3F69FE10DF6}" dt="2023-09-24T20:55:53.953" v="5166" actId="27636"/>
          <ac:spMkLst>
            <pc:docMk/>
            <pc:sldMk cId="3639136353" sldId="555"/>
            <ac:spMk id="6" creationId="{00000000-0000-0000-0000-000000000000}"/>
          </ac:spMkLst>
        </pc:spChg>
        <pc:spChg chg="mod">
          <ac:chgData name="Peter Eichenberger" userId="728f4d23-4a61-4401-9315-f0ce5ffabd34" providerId="ADAL" clId="{255E8B6A-517D-40F8-8E40-C3F69FE10DF6}" dt="2023-09-24T20:36:42.905" v="4717"/>
          <ac:spMkLst>
            <pc:docMk/>
            <pc:sldMk cId="3639136353" sldId="555"/>
            <ac:spMk id="7" creationId="{00000000-0000-0000-0000-000000000000}"/>
          </ac:spMkLst>
        </pc:spChg>
        <pc:spChg chg="mod">
          <ac:chgData name="Peter Eichenberger" userId="728f4d23-4a61-4401-9315-f0ce5ffabd34" providerId="ADAL" clId="{255E8B6A-517D-40F8-8E40-C3F69FE10DF6}" dt="2023-09-24T19:50:00.618" v="3070" actId="1076"/>
          <ac:spMkLst>
            <pc:docMk/>
            <pc:sldMk cId="3639136353" sldId="555"/>
            <ac:spMk id="9" creationId="{00000000-0000-0000-0000-000000000000}"/>
          </ac:spMkLst>
        </pc:spChg>
        <pc:spChg chg="add del mod modVis">
          <ac:chgData name="Peter Eichenberger" userId="728f4d23-4a61-4401-9315-f0ce5ffabd34" providerId="ADAL" clId="{255E8B6A-517D-40F8-8E40-C3F69FE10DF6}" dt="2023-09-24T19:48:02.226" v="2696"/>
          <ac:spMkLst>
            <pc:docMk/>
            <pc:sldMk cId="3639136353" sldId="555"/>
            <ac:spMk id="10" creationId="{3C914702-CB42-9213-5D43-193582909772}"/>
          </ac:spMkLst>
        </pc:spChg>
        <pc:spChg chg="add del mod modVis">
          <ac:chgData name="Peter Eichenberger" userId="728f4d23-4a61-4401-9315-f0ce5ffabd34" providerId="ADAL" clId="{255E8B6A-517D-40F8-8E40-C3F69FE10DF6}" dt="2023-09-24T19:48:06.715" v="2730"/>
          <ac:spMkLst>
            <pc:docMk/>
            <pc:sldMk cId="3639136353" sldId="555"/>
            <ac:spMk id="12" creationId="{4E64AE19-5291-693E-3C6A-F1DABBA29042}"/>
          </ac:spMkLst>
        </pc:spChg>
        <pc:spChg chg="add del mod modVis">
          <ac:chgData name="Peter Eichenberger" userId="728f4d23-4a61-4401-9315-f0ce5ffabd34" providerId="ADAL" clId="{255E8B6A-517D-40F8-8E40-C3F69FE10DF6}" dt="2023-09-24T19:48:12.164" v="2759"/>
          <ac:spMkLst>
            <pc:docMk/>
            <pc:sldMk cId="3639136353" sldId="555"/>
            <ac:spMk id="13" creationId="{24F7FCCD-C19D-7591-6D45-BF51C93F1766}"/>
          </ac:spMkLst>
        </pc:spChg>
        <pc:spChg chg="add del mod modVis">
          <ac:chgData name="Peter Eichenberger" userId="728f4d23-4a61-4401-9315-f0ce5ffabd34" providerId="ADAL" clId="{255E8B6A-517D-40F8-8E40-C3F69FE10DF6}" dt="2023-09-24T19:48:13.880" v="2788"/>
          <ac:spMkLst>
            <pc:docMk/>
            <pc:sldMk cId="3639136353" sldId="555"/>
            <ac:spMk id="14" creationId="{F34F38E8-28A4-E54F-1343-A6F4CED62004}"/>
          </ac:spMkLst>
        </pc:spChg>
        <pc:spChg chg="add del mod modVis">
          <ac:chgData name="Peter Eichenberger" userId="728f4d23-4a61-4401-9315-f0ce5ffabd34" providerId="ADAL" clId="{255E8B6A-517D-40F8-8E40-C3F69FE10DF6}" dt="2023-09-24T19:48:15.437" v="2817"/>
          <ac:spMkLst>
            <pc:docMk/>
            <pc:sldMk cId="3639136353" sldId="555"/>
            <ac:spMk id="15" creationId="{509A8E75-0E52-086B-EC21-21A03D8E3B20}"/>
          </ac:spMkLst>
        </pc:spChg>
        <pc:spChg chg="add del mod modVis">
          <ac:chgData name="Peter Eichenberger" userId="728f4d23-4a61-4401-9315-f0ce5ffabd34" providerId="ADAL" clId="{255E8B6A-517D-40F8-8E40-C3F69FE10DF6}" dt="2023-09-24T19:48:16.926" v="2846"/>
          <ac:spMkLst>
            <pc:docMk/>
            <pc:sldMk cId="3639136353" sldId="555"/>
            <ac:spMk id="16" creationId="{4530A2B1-7629-E154-00D3-7A65975AF0FA}"/>
          </ac:spMkLst>
        </pc:spChg>
        <pc:spChg chg="add del mod modVis">
          <ac:chgData name="Peter Eichenberger" userId="728f4d23-4a61-4401-9315-f0ce5ffabd34" providerId="ADAL" clId="{255E8B6A-517D-40F8-8E40-C3F69FE10DF6}" dt="2023-09-24T19:48:19.553" v="2875"/>
          <ac:spMkLst>
            <pc:docMk/>
            <pc:sldMk cId="3639136353" sldId="555"/>
            <ac:spMk id="17" creationId="{564443DB-8C4D-A213-0F31-3D513B137375}"/>
          </ac:spMkLst>
        </pc:spChg>
        <pc:spChg chg="add del mod modVis">
          <ac:chgData name="Peter Eichenberger" userId="728f4d23-4a61-4401-9315-f0ce5ffabd34" providerId="ADAL" clId="{255E8B6A-517D-40F8-8E40-C3F69FE10DF6}" dt="2023-09-24T19:48:22.315" v="2904"/>
          <ac:spMkLst>
            <pc:docMk/>
            <pc:sldMk cId="3639136353" sldId="555"/>
            <ac:spMk id="18" creationId="{9054B8BD-96D5-CA1A-3219-7F612D049706}"/>
          </ac:spMkLst>
        </pc:spChg>
        <pc:spChg chg="add del mod modVis">
          <ac:chgData name="Peter Eichenberger" userId="728f4d23-4a61-4401-9315-f0ce5ffabd34" providerId="ADAL" clId="{255E8B6A-517D-40F8-8E40-C3F69FE10DF6}" dt="2023-09-24T19:48:25.477" v="2933"/>
          <ac:spMkLst>
            <pc:docMk/>
            <pc:sldMk cId="3639136353" sldId="555"/>
            <ac:spMk id="19" creationId="{C34A6B5A-989F-5DFF-D570-C2C62CEA85E4}"/>
          </ac:spMkLst>
        </pc:spChg>
        <pc:spChg chg="add del mod modVis">
          <ac:chgData name="Peter Eichenberger" userId="728f4d23-4a61-4401-9315-f0ce5ffabd34" providerId="ADAL" clId="{255E8B6A-517D-40F8-8E40-C3F69FE10DF6}" dt="2023-09-24T19:48:29.858" v="2962"/>
          <ac:spMkLst>
            <pc:docMk/>
            <pc:sldMk cId="3639136353" sldId="555"/>
            <ac:spMk id="20" creationId="{DFBB4DEC-F086-3943-26EC-538B3B5E7BC5}"/>
          </ac:spMkLst>
        </pc:spChg>
        <pc:spChg chg="add del mod modVis">
          <ac:chgData name="Peter Eichenberger" userId="728f4d23-4a61-4401-9315-f0ce5ffabd34" providerId="ADAL" clId="{255E8B6A-517D-40F8-8E40-C3F69FE10DF6}" dt="2023-09-24T19:48:32.008" v="2991"/>
          <ac:spMkLst>
            <pc:docMk/>
            <pc:sldMk cId="3639136353" sldId="555"/>
            <ac:spMk id="21" creationId="{435768CF-59D4-3EB4-5466-3576E0074770}"/>
          </ac:spMkLst>
        </pc:spChg>
        <pc:spChg chg="add del mod modVis">
          <ac:chgData name="Peter Eichenberger" userId="728f4d23-4a61-4401-9315-f0ce5ffabd34" providerId="ADAL" clId="{255E8B6A-517D-40F8-8E40-C3F69FE10DF6}" dt="2023-09-24T19:48:33.374" v="3020"/>
          <ac:spMkLst>
            <pc:docMk/>
            <pc:sldMk cId="3639136353" sldId="555"/>
            <ac:spMk id="22" creationId="{8299633F-AC5E-714F-7294-679822E94091}"/>
          </ac:spMkLst>
        </pc:spChg>
        <pc:spChg chg="add del mod modVis">
          <ac:chgData name="Peter Eichenberger" userId="728f4d23-4a61-4401-9315-f0ce5ffabd34" providerId="ADAL" clId="{255E8B6A-517D-40F8-8E40-C3F69FE10DF6}" dt="2023-09-24T19:48:35.011" v="3049"/>
          <ac:spMkLst>
            <pc:docMk/>
            <pc:sldMk cId="3639136353" sldId="555"/>
            <ac:spMk id="23" creationId="{AAB5C6D0-D06D-C211-6C0E-B1C48667A009}"/>
          </ac:spMkLst>
        </pc:spChg>
        <pc:spChg chg="add mod">
          <ac:chgData name="Peter Eichenberger" userId="728f4d23-4a61-4401-9315-f0ce5ffabd34" providerId="ADAL" clId="{255E8B6A-517D-40F8-8E40-C3F69FE10DF6}" dt="2023-09-24T19:49:46.888" v="3067" actId="1076"/>
          <ac:spMkLst>
            <pc:docMk/>
            <pc:sldMk cId="3639136353" sldId="555"/>
            <ac:spMk id="24" creationId="{CFA3E11C-8EC0-21EF-C4C8-1CC723B77C4D}"/>
          </ac:spMkLst>
        </pc:spChg>
        <pc:graphicFrameChg chg="mod">
          <ac:chgData name="Peter Eichenberger" userId="728f4d23-4a61-4401-9315-f0ce5ffabd34" providerId="ADAL" clId="{255E8B6A-517D-40F8-8E40-C3F69FE10DF6}" dt="2023-09-24T19:48:35.013" v="3051"/>
          <ac:graphicFrameMkLst>
            <pc:docMk/>
            <pc:sldMk cId="3639136353" sldId="555"/>
            <ac:graphicFrameMk id="11" creationId="{8C268544-BF5D-7714-F96A-2433CD6BCED1}"/>
          </ac:graphicFrameMkLst>
        </pc:graphicFrameChg>
        <pc:picChg chg="mod">
          <ac:chgData name="Peter Eichenberger" userId="728f4d23-4a61-4401-9315-f0ce5ffabd34" providerId="ADAL" clId="{255E8B6A-517D-40F8-8E40-C3F69FE10DF6}" dt="2023-09-24T19:50:04.970" v="3086" actId="1035"/>
          <ac:picMkLst>
            <pc:docMk/>
            <pc:sldMk cId="3639136353" sldId="555"/>
            <ac:picMk id="8" creationId="{00000000-0000-0000-0000-000000000000}"/>
          </ac:picMkLst>
        </pc:picChg>
      </pc:sldChg>
      <pc:sldChg chg="addSp delSp modSp add mod ord">
        <pc:chgData name="Peter Eichenberger" userId="728f4d23-4a61-4401-9315-f0ce5ffabd34" providerId="ADAL" clId="{255E8B6A-517D-40F8-8E40-C3F69FE10DF6}" dt="2023-09-24T19:45:20.815" v="2602"/>
        <pc:sldMkLst>
          <pc:docMk/>
          <pc:sldMk cId="35862833" sldId="558"/>
        </pc:sldMkLst>
        <pc:spChg chg="add del mod modVis">
          <ac:chgData name="Peter Eichenberger" userId="728f4d23-4a61-4401-9315-f0ce5ffabd34" providerId="ADAL" clId="{255E8B6A-517D-40F8-8E40-C3F69FE10DF6}" dt="2023-09-24T19:45:19.768" v="2569"/>
          <ac:spMkLst>
            <pc:docMk/>
            <pc:sldMk cId="35862833" sldId="558"/>
            <ac:spMk id="6" creationId="{2D607A68-A51F-2DBC-63E3-F2ACF64203B0}"/>
          </ac:spMkLst>
        </pc:spChg>
        <pc:spChg chg="add del mod modVis">
          <ac:chgData name="Peter Eichenberger" userId="728f4d23-4a61-4401-9315-f0ce5ffabd34" providerId="ADAL" clId="{255E8B6A-517D-40F8-8E40-C3F69FE10DF6}" dt="2023-09-24T19:45:20.813" v="2600"/>
          <ac:spMkLst>
            <pc:docMk/>
            <pc:sldMk cId="35862833" sldId="558"/>
            <ac:spMk id="7" creationId="{826EE217-9B2A-C2BF-BF87-96C8BE163B02}"/>
          </ac:spMkLst>
        </pc:spChg>
        <pc:spChg chg="mod">
          <ac:chgData name="Peter Eichenberger" userId="728f4d23-4a61-4401-9315-f0ce5ffabd34" providerId="ADAL" clId="{255E8B6A-517D-40F8-8E40-C3F69FE10DF6}" dt="2023-09-24T19:45:20.801" v="2575" actId="948"/>
          <ac:spMkLst>
            <pc:docMk/>
            <pc:sldMk cId="35862833" sldId="558"/>
            <ac:spMk id="8" creationId="{00000000-0000-0000-0000-000000000000}"/>
          </ac:spMkLst>
        </pc:spChg>
        <pc:graphicFrameChg chg="mod">
          <ac:chgData name="Peter Eichenberger" userId="728f4d23-4a61-4401-9315-f0ce5ffabd34" providerId="ADAL" clId="{255E8B6A-517D-40F8-8E40-C3F69FE10DF6}" dt="2023-09-24T19:45:20.815" v="2602"/>
          <ac:graphicFrameMkLst>
            <pc:docMk/>
            <pc:sldMk cId="35862833" sldId="558"/>
            <ac:graphicFrameMk id="5" creationId="{56D661F8-16FE-4ED1-8AB9-A1E9F66AB222}"/>
          </ac:graphicFrameMkLst>
        </pc:graphicFrameChg>
      </pc:sldChg>
      <pc:sldChg chg="del">
        <pc:chgData name="Peter Eichenberger" userId="728f4d23-4a61-4401-9315-f0ce5ffabd34" providerId="ADAL" clId="{255E8B6A-517D-40F8-8E40-C3F69FE10DF6}" dt="2023-09-24T19:24:27.248" v="2190" actId="2696"/>
        <pc:sldMkLst>
          <pc:docMk/>
          <pc:sldMk cId="3080180673" sldId="558"/>
        </pc:sldMkLst>
      </pc:sldChg>
      <pc:sldChg chg="del">
        <pc:chgData name="Peter Eichenberger" userId="728f4d23-4a61-4401-9315-f0ce5ffabd34" providerId="ADAL" clId="{255E8B6A-517D-40F8-8E40-C3F69FE10DF6}" dt="2023-09-24T19:25:01.503" v="2197" actId="2696"/>
        <pc:sldMkLst>
          <pc:docMk/>
          <pc:sldMk cId="1407888944" sldId="559"/>
        </pc:sldMkLst>
      </pc:sldChg>
      <pc:sldChg chg="add del">
        <pc:chgData name="Peter Eichenberger" userId="728f4d23-4a61-4401-9315-f0ce5ffabd34" providerId="ADAL" clId="{255E8B6A-517D-40F8-8E40-C3F69FE10DF6}" dt="2023-09-24T21:33:17.174" v="6893" actId="47"/>
        <pc:sldMkLst>
          <pc:docMk/>
          <pc:sldMk cId="2054887850" sldId="559"/>
        </pc:sldMkLst>
      </pc:sldChg>
      <pc:sldChg chg="add del">
        <pc:chgData name="Peter Eichenberger" userId="728f4d23-4a61-4401-9315-f0ce5ffabd34" providerId="ADAL" clId="{255E8B6A-517D-40F8-8E40-C3F69FE10DF6}" dt="2023-09-24T21:42:57.195" v="7425" actId="47"/>
        <pc:sldMkLst>
          <pc:docMk/>
          <pc:sldMk cId="3245521737" sldId="560"/>
        </pc:sldMkLst>
      </pc:sldChg>
      <pc:sldChg chg="del">
        <pc:chgData name="Peter Eichenberger" userId="728f4d23-4a61-4401-9315-f0ce5ffabd34" providerId="ADAL" clId="{255E8B6A-517D-40F8-8E40-C3F69FE10DF6}" dt="2023-09-24T19:25:01.503" v="2197" actId="2696"/>
        <pc:sldMkLst>
          <pc:docMk/>
          <pc:sldMk cId="4016821092" sldId="560"/>
        </pc:sldMkLst>
      </pc:sldChg>
      <pc:sldChg chg="del">
        <pc:chgData name="Peter Eichenberger" userId="728f4d23-4a61-4401-9315-f0ce5ffabd34" providerId="ADAL" clId="{255E8B6A-517D-40F8-8E40-C3F69FE10DF6}" dt="2023-09-24T19:25:01.503" v="2197" actId="2696"/>
        <pc:sldMkLst>
          <pc:docMk/>
          <pc:sldMk cId="636668247" sldId="561"/>
        </pc:sldMkLst>
      </pc:sldChg>
      <pc:sldChg chg="add del">
        <pc:chgData name="Peter Eichenberger" userId="728f4d23-4a61-4401-9315-f0ce5ffabd34" providerId="ADAL" clId="{255E8B6A-517D-40F8-8E40-C3F69FE10DF6}" dt="2023-09-24T21:30:47.713" v="6891" actId="47"/>
        <pc:sldMkLst>
          <pc:docMk/>
          <pc:sldMk cId="1421965539" sldId="561"/>
        </pc:sldMkLst>
      </pc:sldChg>
      <pc:sldChg chg="modSp del mod">
        <pc:chgData name="Peter Eichenberger" userId="728f4d23-4a61-4401-9315-f0ce5ffabd34" providerId="ADAL" clId="{255E8B6A-517D-40F8-8E40-C3F69FE10DF6}" dt="2023-09-24T21:25:28.921" v="6520" actId="47"/>
        <pc:sldMkLst>
          <pc:docMk/>
          <pc:sldMk cId="443651663" sldId="562"/>
        </pc:sldMkLst>
        <pc:spChg chg="mod">
          <ac:chgData name="Peter Eichenberger" userId="728f4d23-4a61-4401-9315-f0ce5ffabd34" providerId="ADAL" clId="{255E8B6A-517D-40F8-8E40-C3F69FE10DF6}" dt="2023-09-24T20:37:06.622" v="4726"/>
          <ac:spMkLst>
            <pc:docMk/>
            <pc:sldMk cId="443651663" sldId="562"/>
            <ac:spMk id="13" creationId="{00000000-0000-0000-0000-000000000000}"/>
          </ac:spMkLst>
        </pc:spChg>
        <pc:spChg chg="mod">
          <ac:chgData name="Peter Eichenberger" userId="728f4d23-4a61-4401-9315-f0ce5ffabd34" providerId="ADAL" clId="{255E8B6A-517D-40F8-8E40-C3F69FE10DF6}" dt="2023-09-24T21:12:54.777" v="5863" actId="21"/>
          <ac:spMkLst>
            <pc:docMk/>
            <pc:sldMk cId="443651663" sldId="562"/>
            <ac:spMk id="14" creationId="{00000000-0000-0000-0000-000000000000}"/>
          </ac:spMkLst>
        </pc:spChg>
      </pc:sldChg>
      <pc:sldChg chg="addSp delSp modSp mod">
        <pc:chgData name="Peter Eichenberger" userId="728f4d23-4a61-4401-9315-f0ce5ffabd34" providerId="ADAL" clId="{255E8B6A-517D-40F8-8E40-C3F69FE10DF6}" dt="2023-09-24T21:26:21.794" v="6728" actId="1076"/>
        <pc:sldMkLst>
          <pc:docMk/>
          <pc:sldMk cId="4206646034" sldId="564"/>
        </pc:sldMkLst>
        <pc:spChg chg="mod">
          <ac:chgData name="Peter Eichenberger" userId="728f4d23-4a61-4401-9315-f0ce5ffabd34" providerId="ADAL" clId="{255E8B6A-517D-40F8-8E40-C3F69FE10DF6}" dt="2023-09-24T21:26:05.791" v="6700" actId="948"/>
          <ac:spMkLst>
            <pc:docMk/>
            <pc:sldMk cId="4206646034" sldId="564"/>
            <ac:spMk id="5" creationId="{00000000-0000-0000-0000-000000000000}"/>
          </ac:spMkLst>
        </pc:spChg>
        <pc:spChg chg="mod">
          <ac:chgData name="Peter Eichenberger" userId="728f4d23-4a61-4401-9315-f0ce5ffabd34" providerId="ADAL" clId="{255E8B6A-517D-40F8-8E40-C3F69FE10DF6}" dt="2023-09-24T21:26:21.794" v="6728" actId="1076"/>
          <ac:spMkLst>
            <pc:docMk/>
            <pc:sldMk cId="4206646034" sldId="564"/>
            <ac:spMk id="6" creationId="{00000000-0000-0000-0000-000000000000}"/>
          </ac:spMkLst>
        </pc:spChg>
        <pc:spChg chg="mod">
          <ac:chgData name="Peter Eichenberger" userId="728f4d23-4a61-4401-9315-f0ce5ffabd34" providerId="ADAL" clId="{255E8B6A-517D-40F8-8E40-C3F69FE10DF6}" dt="2023-09-24T20:37:08.626" v="4727"/>
          <ac:spMkLst>
            <pc:docMk/>
            <pc:sldMk cId="4206646034" sldId="564"/>
            <ac:spMk id="7" creationId="{00000000-0000-0000-0000-000000000000}"/>
          </ac:spMkLst>
        </pc:spChg>
        <pc:spChg chg="add del mod modVis">
          <ac:chgData name="Peter Eichenberger" userId="728f4d23-4a61-4401-9315-f0ce5ffabd34" providerId="ADAL" clId="{255E8B6A-517D-40F8-8E40-C3F69FE10DF6}" dt="2023-09-24T21:00:07.918" v="5333"/>
          <ac:spMkLst>
            <pc:docMk/>
            <pc:sldMk cId="4206646034" sldId="564"/>
            <ac:spMk id="9" creationId="{56ECB750-B7F4-D731-CB60-E5B54287D767}"/>
          </ac:spMkLst>
        </pc:spChg>
        <pc:spChg chg="mod">
          <ac:chgData name="Peter Eichenberger" userId="728f4d23-4a61-4401-9315-f0ce5ffabd34" providerId="ADAL" clId="{255E8B6A-517D-40F8-8E40-C3F69FE10DF6}" dt="2023-09-24T21:26:21.794" v="6728" actId="1076"/>
          <ac:spMkLst>
            <pc:docMk/>
            <pc:sldMk cId="4206646034" sldId="564"/>
            <ac:spMk id="10" creationId="{00000000-0000-0000-0000-000000000000}"/>
          </ac:spMkLst>
        </pc:spChg>
        <pc:spChg chg="add del mod modVis">
          <ac:chgData name="Peter Eichenberger" userId="728f4d23-4a61-4401-9315-f0ce5ffabd34" providerId="ADAL" clId="{255E8B6A-517D-40F8-8E40-C3F69FE10DF6}" dt="2023-09-24T21:00:10.553" v="5381"/>
          <ac:spMkLst>
            <pc:docMk/>
            <pc:sldMk cId="4206646034" sldId="564"/>
            <ac:spMk id="12" creationId="{24255991-3C9F-36E3-C8F0-77AEE4B1CAF4}"/>
          </ac:spMkLst>
        </pc:spChg>
        <pc:spChg chg="add del mod modVis">
          <ac:chgData name="Peter Eichenberger" userId="728f4d23-4a61-4401-9315-f0ce5ffabd34" providerId="ADAL" clId="{255E8B6A-517D-40F8-8E40-C3F69FE10DF6}" dt="2023-09-24T21:00:11.401" v="5410"/>
          <ac:spMkLst>
            <pc:docMk/>
            <pc:sldMk cId="4206646034" sldId="564"/>
            <ac:spMk id="13" creationId="{698A64AA-2702-305A-1821-21729C213D44}"/>
          </ac:spMkLst>
        </pc:spChg>
        <pc:spChg chg="add del mod modVis">
          <ac:chgData name="Peter Eichenberger" userId="728f4d23-4a61-4401-9315-f0ce5ffabd34" providerId="ADAL" clId="{255E8B6A-517D-40F8-8E40-C3F69FE10DF6}" dt="2023-09-24T21:25:55.999" v="6549"/>
          <ac:spMkLst>
            <pc:docMk/>
            <pc:sldMk cId="4206646034" sldId="564"/>
            <ac:spMk id="14" creationId="{304D5E3A-7198-3AD7-EF7C-1C054C688242}"/>
          </ac:spMkLst>
        </pc:spChg>
        <pc:spChg chg="add del mod modVis">
          <ac:chgData name="Peter Eichenberger" userId="728f4d23-4a61-4401-9315-f0ce5ffabd34" providerId="ADAL" clId="{255E8B6A-517D-40F8-8E40-C3F69FE10DF6}" dt="2023-09-24T21:25:57.826" v="6578"/>
          <ac:spMkLst>
            <pc:docMk/>
            <pc:sldMk cId="4206646034" sldId="564"/>
            <ac:spMk id="15" creationId="{70B05216-192D-BB28-7895-D918E4E2A40F}"/>
          </ac:spMkLst>
        </pc:spChg>
        <pc:spChg chg="add del mod modVis">
          <ac:chgData name="Peter Eichenberger" userId="728f4d23-4a61-4401-9315-f0ce5ffabd34" providerId="ADAL" clId="{255E8B6A-517D-40F8-8E40-C3F69FE10DF6}" dt="2023-09-24T21:25:58.791" v="6607"/>
          <ac:spMkLst>
            <pc:docMk/>
            <pc:sldMk cId="4206646034" sldId="564"/>
            <ac:spMk id="16" creationId="{BD38D3AA-19A9-9111-A476-51AD46CA85F9}"/>
          </ac:spMkLst>
        </pc:spChg>
        <pc:spChg chg="add del mod modVis">
          <ac:chgData name="Peter Eichenberger" userId="728f4d23-4a61-4401-9315-f0ce5ffabd34" providerId="ADAL" clId="{255E8B6A-517D-40F8-8E40-C3F69FE10DF6}" dt="2023-09-24T21:26:02.236" v="6637"/>
          <ac:spMkLst>
            <pc:docMk/>
            <pc:sldMk cId="4206646034" sldId="564"/>
            <ac:spMk id="17" creationId="{6506B9C0-68C6-D3EE-E87A-231C934B00AC}"/>
          </ac:spMkLst>
        </pc:spChg>
        <pc:spChg chg="add del mod modVis">
          <ac:chgData name="Peter Eichenberger" userId="728f4d23-4a61-4401-9315-f0ce5ffabd34" providerId="ADAL" clId="{255E8B6A-517D-40F8-8E40-C3F69FE10DF6}" dt="2023-09-24T21:26:03.725" v="6666"/>
          <ac:spMkLst>
            <pc:docMk/>
            <pc:sldMk cId="4206646034" sldId="564"/>
            <ac:spMk id="18" creationId="{B6923E24-A766-5795-D770-58A0D726120D}"/>
          </ac:spMkLst>
        </pc:spChg>
        <pc:spChg chg="add del mod modVis">
          <ac:chgData name="Peter Eichenberger" userId="728f4d23-4a61-4401-9315-f0ce5ffabd34" providerId="ADAL" clId="{255E8B6A-517D-40F8-8E40-C3F69FE10DF6}" dt="2023-09-24T21:26:04.610" v="6695"/>
          <ac:spMkLst>
            <pc:docMk/>
            <pc:sldMk cId="4206646034" sldId="564"/>
            <ac:spMk id="19" creationId="{C5136104-010F-6DF9-B60B-2C0A36FF7092}"/>
          </ac:spMkLst>
        </pc:spChg>
        <pc:spChg chg="add del mod modVis">
          <ac:chgData name="Peter Eichenberger" userId="728f4d23-4a61-4401-9315-f0ce5ffabd34" providerId="ADAL" clId="{255E8B6A-517D-40F8-8E40-C3F69FE10DF6}" dt="2023-09-24T21:26:05.805" v="6725"/>
          <ac:spMkLst>
            <pc:docMk/>
            <pc:sldMk cId="4206646034" sldId="564"/>
            <ac:spMk id="20" creationId="{302A9AD0-A4C2-0C1D-8A9E-EA8F31E02D78}"/>
          </ac:spMkLst>
        </pc:spChg>
        <pc:graphicFrameChg chg="mod">
          <ac:chgData name="Peter Eichenberger" userId="728f4d23-4a61-4401-9315-f0ce5ffabd34" providerId="ADAL" clId="{255E8B6A-517D-40F8-8E40-C3F69FE10DF6}" dt="2023-09-24T21:26:21.794" v="6728" actId="1076"/>
          <ac:graphicFrameMkLst>
            <pc:docMk/>
            <pc:sldMk cId="4206646034" sldId="564"/>
            <ac:graphicFrameMk id="8" creationId="{00000000-0000-0000-0000-000000000000}"/>
          </ac:graphicFrameMkLst>
        </pc:graphicFrameChg>
        <pc:graphicFrameChg chg="add mod ord modVis replST">
          <ac:chgData name="Peter Eichenberger" userId="728f4d23-4a61-4401-9315-f0ce5ffabd34" providerId="ADAL" clId="{255E8B6A-517D-40F8-8E40-C3F69FE10DF6}" dt="2023-09-24T21:26:05.807" v="6727"/>
          <ac:graphicFrameMkLst>
            <pc:docMk/>
            <pc:sldMk cId="4206646034" sldId="564"/>
            <ac:graphicFrameMk id="11" creationId="{A91CD741-7A30-E4A6-0C34-77FA0930740D}"/>
          </ac:graphicFrameMkLst>
        </pc:graphicFrameChg>
      </pc:sldChg>
      <pc:sldChg chg="addSp delSp modSp add mod">
        <pc:chgData name="Peter Eichenberger" userId="728f4d23-4a61-4401-9315-f0ce5ffabd34" providerId="ADAL" clId="{255E8B6A-517D-40F8-8E40-C3F69FE10DF6}" dt="2023-09-24T22:19:18.444" v="8448" actId="12"/>
        <pc:sldMkLst>
          <pc:docMk/>
          <pc:sldMk cId="2237289466" sldId="567"/>
        </pc:sldMkLst>
        <pc:spChg chg="mod">
          <ac:chgData name="Peter Eichenberger" userId="728f4d23-4a61-4401-9315-f0ce5ffabd34" providerId="ADAL" clId="{255E8B6A-517D-40F8-8E40-C3F69FE10DF6}" dt="2023-09-24T20:20:36.125" v="4326" actId="948"/>
          <ac:spMkLst>
            <pc:docMk/>
            <pc:sldMk cId="2237289466" sldId="567"/>
            <ac:spMk id="5" creationId="{BD8BB989-D523-5C7C-DB91-D7B452564D65}"/>
          </ac:spMkLst>
        </pc:spChg>
        <pc:spChg chg="mod">
          <ac:chgData name="Peter Eichenberger" userId="728f4d23-4a61-4401-9315-f0ce5ffabd34" providerId="ADAL" clId="{255E8B6A-517D-40F8-8E40-C3F69FE10DF6}" dt="2023-09-24T22:19:18.444" v="8448" actId="12"/>
          <ac:spMkLst>
            <pc:docMk/>
            <pc:sldMk cId="2237289466" sldId="567"/>
            <ac:spMk id="6" creationId="{DA39E1C6-DBF2-1069-35CE-8968DA88A1F8}"/>
          </ac:spMkLst>
        </pc:spChg>
        <pc:spChg chg="mod">
          <ac:chgData name="Peter Eichenberger" userId="728f4d23-4a61-4401-9315-f0ce5ffabd34" providerId="ADAL" clId="{255E8B6A-517D-40F8-8E40-C3F69FE10DF6}" dt="2023-09-24T20:34:05.817" v="4699"/>
          <ac:spMkLst>
            <pc:docMk/>
            <pc:sldMk cId="2237289466" sldId="567"/>
            <ac:spMk id="7" creationId="{C81390D3-21F0-DE83-5CAD-9BCC68E3C7CA}"/>
          </ac:spMkLst>
        </pc:spChg>
        <pc:spChg chg="add del mod modVis">
          <ac:chgData name="Peter Eichenberger" userId="728f4d23-4a61-4401-9315-f0ce5ffabd34" providerId="ADAL" clId="{255E8B6A-517D-40F8-8E40-C3F69FE10DF6}" dt="2023-09-24T20:20:30.819" v="4192"/>
          <ac:spMkLst>
            <pc:docMk/>
            <pc:sldMk cId="2237289466" sldId="567"/>
            <ac:spMk id="9" creationId="{6C5ADE82-E0F1-D6D3-5B05-17C9CB5F6312}"/>
          </ac:spMkLst>
        </pc:spChg>
        <pc:spChg chg="add del mod modVis">
          <ac:chgData name="Peter Eichenberger" userId="728f4d23-4a61-4401-9315-f0ce5ffabd34" providerId="ADAL" clId="{255E8B6A-517D-40F8-8E40-C3F69FE10DF6}" dt="2023-09-24T20:20:31.880" v="4222"/>
          <ac:spMkLst>
            <pc:docMk/>
            <pc:sldMk cId="2237289466" sldId="567"/>
            <ac:spMk id="10" creationId="{011A454A-BDDC-F120-CDF7-ACE0974AF875}"/>
          </ac:spMkLst>
        </pc:spChg>
        <pc:spChg chg="add del mod modVis">
          <ac:chgData name="Peter Eichenberger" userId="728f4d23-4a61-4401-9315-f0ce5ffabd34" providerId="ADAL" clId="{255E8B6A-517D-40F8-8E40-C3F69FE10DF6}" dt="2023-09-24T20:20:32.673" v="4252"/>
          <ac:spMkLst>
            <pc:docMk/>
            <pc:sldMk cId="2237289466" sldId="567"/>
            <ac:spMk id="11" creationId="{2425AC47-3AFF-D372-5E9E-4AC170D55E5F}"/>
          </ac:spMkLst>
        </pc:spChg>
        <pc:spChg chg="add del mod modVis">
          <ac:chgData name="Peter Eichenberger" userId="728f4d23-4a61-4401-9315-f0ce5ffabd34" providerId="ADAL" clId="{255E8B6A-517D-40F8-8E40-C3F69FE10DF6}" dt="2023-09-24T20:20:33.480" v="4282"/>
          <ac:spMkLst>
            <pc:docMk/>
            <pc:sldMk cId="2237289466" sldId="567"/>
            <ac:spMk id="12" creationId="{4D2CFDA2-2D13-8389-37C0-F1DD52265E91}"/>
          </ac:spMkLst>
        </pc:spChg>
        <pc:spChg chg="add del mod modVis">
          <ac:chgData name="Peter Eichenberger" userId="728f4d23-4a61-4401-9315-f0ce5ffabd34" providerId="ADAL" clId="{255E8B6A-517D-40F8-8E40-C3F69FE10DF6}" dt="2023-09-24T20:20:35.860" v="4321"/>
          <ac:spMkLst>
            <pc:docMk/>
            <pc:sldMk cId="2237289466" sldId="567"/>
            <ac:spMk id="13" creationId="{21B1DA4B-3C63-3519-88E6-58AE4AB73A1B}"/>
          </ac:spMkLst>
        </pc:spChg>
        <pc:spChg chg="add del mod modVis">
          <ac:chgData name="Peter Eichenberger" userId="728f4d23-4a61-4401-9315-f0ce5ffabd34" providerId="ADAL" clId="{255E8B6A-517D-40F8-8E40-C3F69FE10DF6}" dt="2023-09-24T20:20:36.139" v="4351"/>
          <ac:spMkLst>
            <pc:docMk/>
            <pc:sldMk cId="2237289466" sldId="567"/>
            <ac:spMk id="14" creationId="{AB78D946-68B2-1336-A596-7D2A703EA3F8}"/>
          </ac:spMkLst>
        </pc:spChg>
        <pc:graphicFrameChg chg="add mod ord modVis replST">
          <ac:chgData name="Peter Eichenberger" userId="728f4d23-4a61-4401-9315-f0ce5ffabd34" providerId="ADAL" clId="{255E8B6A-517D-40F8-8E40-C3F69FE10DF6}" dt="2023-09-24T20:20:36.140" v="4353"/>
          <ac:graphicFrameMkLst>
            <pc:docMk/>
            <pc:sldMk cId="2237289466" sldId="567"/>
            <ac:graphicFrameMk id="8" creationId="{C2B38055-B2DA-67CD-A590-FAB1C9E1DBB4}"/>
          </ac:graphicFrameMkLst>
        </pc:graphicFrameChg>
      </pc:sldChg>
      <pc:sldChg chg="del">
        <pc:chgData name="Peter Eichenberger" userId="728f4d23-4a61-4401-9315-f0ce5ffabd34" providerId="ADAL" clId="{255E8B6A-517D-40F8-8E40-C3F69FE10DF6}" dt="2023-09-24T19:51:49.503" v="3090" actId="2696"/>
        <pc:sldMkLst>
          <pc:docMk/>
          <pc:sldMk cId="3508889736" sldId="567"/>
        </pc:sldMkLst>
      </pc:sldChg>
      <pc:sldChg chg="addSp delSp modSp add mod">
        <pc:chgData name="Peter Eichenberger" userId="728f4d23-4a61-4401-9315-f0ce5ffabd34" providerId="ADAL" clId="{255E8B6A-517D-40F8-8E40-C3F69FE10DF6}" dt="2023-09-24T22:34:47.160" v="8534" actId="20577"/>
        <pc:sldMkLst>
          <pc:docMk/>
          <pc:sldMk cId="481814213" sldId="568"/>
        </pc:sldMkLst>
        <pc:spChg chg="mod">
          <ac:chgData name="Peter Eichenberger" userId="728f4d23-4a61-4401-9315-f0ce5ffabd34" providerId="ADAL" clId="{255E8B6A-517D-40F8-8E40-C3F69FE10DF6}" dt="2023-09-24T22:14:10.492" v="8032" actId="948"/>
          <ac:spMkLst>
            <pc:docMk/>
            <pc:sldMk cId="481814213" sldId="568"/>
            <ac:spMk id="5" creationId="{1231E457-1A07-4F9E-2D9B-705FCC3063D7}"/>
          </ac:spMkLst>
        </pc:spChg>
        <pc:spChg chg="mod">
          <ac:chgData name="Peter Eichenberger" userId="728f4d23-4a61-4401-9315-f0ce5ffabd34" providerId="ADAL" clId="{255E8B6A-517D-40F8-8E40-C3F69FE10DF6}" dt="2023-09-24T22:34:47.160" v="8534" actId="20577"/>
          <ac:spMkLst>
            <pc:docMk/>
            <pc:sldMk cId="481814213" sldId="568"/>
            <ac:spMk id="6" creationId="{8234EDE0-8D93-48F0-8233-8998DD637B83}"/>
          </ac:spMkLst>
        </pc:spChg>
        <pc:spChg chg="mod">
          <ac:chgData name="Peter Eichenberger" userId="728f4d23-4a61-4401-9315-f0ce5ffabd34" providerId="ADAL" clId="{255E8B6A-517D-40F8-8E40-C3F69FE10DF6}" dt="2023-09-24T20:34:09.929" v="4701"/>
          <ac:spMkLst>
            <pc:docMk/>
            <pc:sldMk cId="481814213" sldId="568"/>
            <ac:spMk id="7" creationId="{99527453-E378-2622-8AE4-81E9ADDEE14D}"/>
          </ac:spMkLst>
        </pc:spChg>
        <pc:spChg chg="add del mod modVis">
          <ac:chgData name="Peter Eichenberger" userId="728f4d23-4a61-4401-9315-f0ce5ffabd34" providerId="ADAL" clId="{255E8B6A-517D-40F8-8E40-C3F69FE10DF6}" dt="2023-09-24T20:21:07.887" v="4459"/>
          <ac:spMkLst>
            <pc:docMk/>
            <pc:sldMk cId="481814213" sldId="568"/>
            <ac:spMk id="9" creationId="{CB8DD41D-EB97-F1B5-1D83-F614DD8EB10D}"/>
          </ac:spMkLst>
        </pc:spChg>
        <pc:spChg chg="add del mod modVis">
          <ac:chgData name="Peter Eichenberger" userId="728f4d23-4a61-4401-9315-f0ce5ffabd34" providerId="ADAL" clId="{255E8B6A-517D-40F8-8E40-C3F69FE10DF6}" dt="2023-09-24T20:21:09.004" v="4489"/>
          <ac:spMkLst>
            <pc:docMk/>
            <pc:sldMk cId="481814213" sldId="568"/>
            <ac:spMk id="10" creationId="{8F29DAE5-6B51-C3E3-491A-894FB2656F50}"/>
          </ac:spMkLst>
        </pc:spChg>
        <pc:spChg chg="add del mod modVis">
          <ac:chgData name="Peter Eichenberger" userId="728f4d23-4a61-4401-9315-f0ce5ffabd34" providerId="ADAL" clId="{255E8B6A-517D-40F8-8E40-C3F69FE10DF6}" dt="2023-09-24T22:14:10.505" v="8057"/>
          <ac:spMkLst>
            <pc:docMk/>
            <pc:sldMk cId="481814213" sldId="568"/>
            <ac:spMk id="11" creationId="{E97995FA-B716-48D4-FCA0-E878C23BA084}"/>
          </ac:spMkLst>
        </pc:spChg>
        <pc:graphicFrameChg chg="add mod ord modVis replST">
          <ac:chgData name="Peter Eichenberger" userId="728f4d23-4a61-4401-9315-f0ce5ffabd34" providerId="ADAL" clId="{255E8B6A-517D-40F8-8E40-C3F69FE10DF6}" dt="2023-09-24T22:14:10.507" v="8059"/>
          <ac:graphicFrameMkLst>
            <pc:docMk/>
            <pc:sldMk cId="481814213" sldId="568"/>
            <ac:graphicFrameMk id="8" creationId="{AD5FADC5-4AFA-8C3A-0D79-534859C8D69D}"/>
          </ac:graphicFrameMkLst>
        </pc:graphicFrameChg>
      </pc:sldChg>
      <pc:sldChg chg="del">
        <pc:chgData name="Peter Eichenberger" userId="728f4d23-4a61-4401-9315-f0ce5ffabd34" providerId="ADAL" clId="{255E8B6A-517D-40F8-8E40-C3F69FE10DF6}" dt="2023-09-24T19:51:49.503" v="3090" actId="2696"/>
        <pc:sldMkLst>
          <pc:docMk/>
          <pc:sldMk cId="902960000" sldId="568"/>
        </pc:sldMkLst>
      </pc:sldChg>
      <pc:sldChg chg="del">
        <pc:chgData name="Peter Eichenberger" userId="728f4d23-4a61-4401-9315-f0ce5ffabd34" providerId="ADAL" clId="{255E8B6A-517D-40F8-8E40-C3F69FE10DF6}" dt="2023-09-24T19:51:49.503" v="3090" actId="2696"/>
        <pc:sldMkLst>
          <pc:docMk/>
          <pc:sldMk cId="2593837922" sldId="569"/>
        </pc:sldMkLst>
      </pc:sldChg>
      <pc:sldChg chg="modSp add del mod">
        <pc:chgData name="Peter Eichenberger" userId="728f4d23-4a61-4401-9315-f0ce5ffabd34" providerId="ADAL" clId="{255E8B6A-517D-40F8-8E40-C3F69FE10DF6}" dt="2023-09-24T22:34:32.625" v="8530" actId="47"/>
        <pc:sldMkLst>
          <pc:docMk/>
          <pc:sldMk cId="3940836186" sldId="569"/>
        </pc:sldMkLst>
        <pc:spChg chg="mod">
          <ac:chgData name="Peter Eichenberger" userId="728f4d23-4a61-4401-9315-f0ce5ffabd34" providerId="ADAL" clId="{255E8B6A-517D-40F8-8E40-C3F69FE10DF6}" dt="2023-09-24T20:34:12.303" v="4702"/>
          <ac:spMkLst>
            <pc:docMk/>
            <pc:sldMk cId="3940836186" sldId="569"/>
            <ac:spMk id="7" creationId="{AADC3953-06B0-E0AC-982D-D363230D2628}"/>
          </ac:spMkLst>
        </pc:spChg>
      </pc:sldChg>
      <pc:sldChg chg="addSp modSp mod">
        <pc:chgData name="Peter Eichenberger" userId="728f4d23-4a61-4401-9315-f0ce5ffabd34" providerId="ADAL" clId="{255E8B6A-517D-40F8-8E40-C3F69FE10DF6}" dt="2023-09-24T21:07:06.501" v="5527" actId="1076"/>
        <pc:sldMkLst>
          <pc:docMk/>
          <pc:sldMk cId="3429788689" sldId="577"/>
        </pc:sldMkLst>
        <pc:spChg chg="mod">
          <ac:chgData name="Peter Eichenberger" userId="728f4d23-4a61-4401-9315-f0ce5ffabd34" providerId="ADAL" clId="{255E8B6A-517D-40F8-8E40-C3F69FE10DF6}" dt="2023-09-24T20:36:40.894" v="4716"/>
          <ac:spMkLst>
            <pc:docMk/>
            <pc:sldMk cId="3429788689" sldId="577"/>
            <ac:spMk id="6" creationId="{00000000-0000-0000-0000-000000000000}"/>
          </ac:spMkLst>
        </pc:spChg>
        <pc:spChg chg="add mod">
          <ac:chgData name="Peter Eichenberger" userId="728f4d23-4a61-4401-9315-f0ce5ffabd34" providerId="ADAL" clId="{255E8B6A-517D-40F8-8E40-C3F69FE10DF6}" dt="2023-09-24T21:07:06.501" v="5527" actId="1076"/>
          <ac:spMkLst>
            <pc:docMk/>
            <pc:sldMk cId="3429788689" sldId="577"/>
            <ac:spMk id="7" creationId="{38065D00-9FB7-D7D0-660B-8B100860CB23}"/>
          </ac:spMkLst>
        </pc:spChg>
        <pc:spChg chg="mod">
          <ac:chgData name="Peter Eichenberger" userId="728f4d23-4a61-4401-9315-f0ce5ffabd34" providerId="ADAL" clId="{255E8B6A-517D-40F8-8E40-C3F69FE10DF6}" dt="2023-09-24T21:04:06.291" v="5417" actId="1076"/>
          <ac:spMkLst>
            <pc:docMk/>
            <pc:sldMk cId="3429788689" sldId="577"/>
            <ac:spMk id="11" creationId="{00000000-0000-0000-0000-000000000000}"/>
          </ac:spMkLst>
        </pc:spChg>
        <pc:picChg chg="mod">
          <ac:chgData name="Peter Eichenberger" userId="728f4d23-4a61-4401-9315-f0ce5ffabd34" providerId="ADAL" clId="{255E8B6A-517D-40F8-8E40-C3F69FE10DF6}" dt="2023-09-24T21:06:59.971" v="5525" actId="1076"/>
          <ac:picMkLst>
            <pc:docMk/>
            <pc:sldMk cId="3429788689" sldId="577"/>
            <ac:picMk id="9" creationId="{00000000-0000-0000-0000-000000000000}"/>
          </ac:picMkLst>
        </pc:picChg>
      </pc:sldChg>
      <pc:sldChg chg="addSp delSp modSp del mod">
        <pc:chgData name="Peter Eichenberger" userId="728f4d23-4a61-4401-9315-f0ce5ffabd34" providerId="ADAL" clId="{255E8B6A-517D-40F8-8E40-C3F69FE10DF6}" dt="2023-09-24T20:58:13.497" v="5298" actId="2696"/>
        <pc:sldMkLst>
          <pc:docMk/>
          <pc:sldMk cId="438278404" sldId="579"/>
        </pc:sldMkLst>
        <pc:spChg chg="mod">
          <ac:chgData name="Peter Eichenberger" userId="728f4d23-4a61-4401-9315-f0ce5ffabd34" providerId="ADAL" clId="{255E8B6A-517D-40F8-8E40-C3F69FE10DF6}" dt="2023-09-24T20:57:24.191" v="5219" actId="948"/>
          <ac:spMkLst>
            <pc:docMk/>
            <pc:sldMk cId="438278404" sldId="579"/>
            <ac:spMk id="5" creationId="{00000000-0000-0000-0000-000000000000}"/>
          </ac:spMkLst>
        </pc:spChg>
        <pc:spChg chg="mod">
          <ac:chgData name="Peter Eichenberger" userId="728f4d23-4a61-4401-9315-f0ce5ffabd34" providerId="ADAL" clId="{255E8B6A-517D-40F8-8E40-C3F69FE10DF6}" dt="2023-09-24T20:57:58.897" v="5296" actId="20577"/>
          <ac:spMkLst>
            <pc:docMk/>
            <pc:sldMk cId="438278404" sldId="579"/>
            <ac:spMk id="6" creationId="{00000000-0000-0000-0000-000000000000}"/>
          </ac:spMkLst>
        </pc:spChg>
        <pc:spChg chg="mod">
          <ac:chgData name="Peter Eichenberger" userId="728f4d23-4a61-4401-9315-f0ce5ffabd34" providerId="ADAL" clId="{255E8B6A-517D-40F8-8E40-C3F69FE10DF6}" dt="2023-09-24T20:36:47.740" v="4719"/>
          <ac:spMkLst>
            <pc:docMk/>
            <pc:sldMk cId="438278404" sldId="579"/>
            <ac:spMk id="7" creationId="{00000000-0000-0000-0000-000000000000}"/>
          </ac:spMkLst>
        </pc:spChg>
        <pc:spChg chg="add del mod modVis">
          <ac:chgData name="Peter Eichenberger" userId="728f4d23-4a61-4401-9315-f0ce5ffabd34" providerId="ADAL" clId="{255E8B6A-517D-40F8-8E40-C3F69FE10DF6}" dt="2023-09-24T20:57:21.771" v="5206"/>
          <ac:spMkLst>
            <pc:docMk/>
            <pc:sldMk cId="438278404" sldId="579"/>
            <ac:spMk id="8" creationId="{B99541D8-47A5-8658-CAC3-DBC067B147CE}"/>
          </ac:spMkLst>
        </pc:spChg>
        <pc:spChg chg="add del mod modVis">
          <ac:chgData name="Peter Eichenberger" userId="728f4d23-4a61-4401-9315-f0ce5ffabd34" providerId="ADAL" clId="{255E8B6A-517D-40F8-8E40-C3F69FE10DF6}" dt="2023-09-24T20:57:24.204" v="5244"/>
          <ac:spMkLst>
            <pc:docMk/>
            <pc:sldMk cId="438278404" sldId="579"/>
            <ac:spMk id="10" creationId="{3F0E582A-EEF3-D3A7-18D0-3F2EDC8089FD}"/>
          </ac:spMkLst>
        </pc:spChg>
        <pc:graphicFrameChg chg="mod">
          <ac:chgData name="Peter Eichenberger" userId="728f4d23-4a61-4401-9315-f0ce5ffabd34" providerId="ADAL" clId="{255E8B6A-517D-40F8-8E40-C3F69FE10DF6}" dt="2023-09-24T20:57:24.207" v="5246"/>
          <ac:graphicFrameMkLst>
            <pc:docMk/>
            <pc:sldMk cId="438278404" sldId="579"/>
            <ac:graphicFrameMk id="9" creationId="{19A3BC67-2FB3-9CF9-B84F-8721811DEB8B}"/>
          </ac:graphicFrameMkLst>
        </pc:graphicFrameChg>
      </pc:sldChg>
      <pc:sldChg chg="add ord">
        <pc:chgData name="Peter Eichenberger" userId="728f4d23-4a61-4401-9315-f0ce5ffabd34" providerId="ADAL" clId="{255E8B6A-517D-40F8-8E40-C3F69FE10DF6}" dt="2023-09-24T20:58:17.653" v="5301"/>
        <pc:sldMkLst>
          <pc:docMk/>
          <pc:sldMk cId="993724589" sldId="579"/>
        </pc:sldMkLst>
      </pc:sldChg>
      <pc:sldChg chg="modSp del mod">
        <pc:chgData name="Peter Eichenberger" userId="728f4d23-4a61-4401-9315-f0ce5ffabd34" providerId="ADAL" clId="{255E8B6A-517D-40F8-8E40-C3F69FE10DF6}" dt="2023-09-24T21:08:55.139" v="5766" actId="47"/>
        <pc:sldMkLst>
          <pc:docMk/>
          <pc:sldMk cId="297981378" sldId="582"/>
        </pc:sldMkLst>
        <pc:spChg chg="mod">
          <ac:chgData name="Peter Eichenberger" userId="728f4d23-4a61-4401-9315-f0ce5ffabd34" providerId="ADAL" clId="{255E8B6A-517D-40F8-8E40-C3F69FE10DF6}" dt="2023-09-24T20:36:52.676" v="4721"/>
          <ac:spMkLst>
            <pc:docMk/>
            <pc:sldMk cId="297981378" sldId="582"/>
            <ac:spMk id="6" creationId="{00000000-0000-0000-0000-000000000000}"/>
          </ac:spMkLst>
        </pc:spChg>
      </pc:sldChg>
      <pc:sldChg chg="del">
        <pc:chgData name="Peter Eichenberger" userId="728f4d23-4a61-4401-9315-f0ce5ffabd34" providerId="ADAL" clId="{255E8B6A-517D-40F8-8E40-C3F69FE10DF6}" dt="2023-09-24T19:23:23.681" v="2185" actId="47"/>
        <pc:sldMkLst>
          <pc:docMk/>
          <pc:sldMk cId="1238831971" sldId="583"/>
        </pc:sldMkLst>
      </pc:sldChg>
      <pc:sldChg chg="modSp del mod ord">
        <pc:chgData name="Peter Eichenberger" userId="728f4d23-4a61-4401-9315-f0ce5ffabd34" providerId="ADAL" clId="{255E8B6A-517D-40F8-8E40-C3F69FE10DF6}" dt="2023-09-24T21:25:43.504" v="6521" actId="47"/>
        <pc:sldMkLst>
          <pc:docMk/>
          <pc:sldMk cId="3376355359" sldId="585"/>
        </pc:sldMkLst>
        <pc:spChg chg="mod">
          <ac:chgData name="Peter Eichenberger" userId="728f4d23-4a61-4401-9315-f0ce5ffabd34" providerId="ADAL" clId="{255E8B6A-517D-40F8-8E40-C3F69FE10DF6}" dt="2023-09-24T20:36:55.005" v="4722"/>
          <ac:spMkLst>
            <pc:docMk/>
            <pc:sldMk cId="3376355359" sldId="585"/>
            <ac:spMk id="7" creationId="{00000000-0000-0000-0000-000000000000}"/>
          </ac:spMkLst>
        </pc:spChg>
      </pc:sldChg>
      <pc:sldChg chg="addSp delSp modSp mod modAnim">
        <pc:chgData name="Peter Eichenberger" userId="728f4d23-4a61-4401-9315-f0ce5ffabd34" providerId="ADAL" clId="{255E8B6A-517D-40F8-8E40-C3F69FE10DF6}" dt="2023-09-24T21:18:01.045" v="6169"/>
        <pc:sldMkLst>
          <pc:docMk/>
          <pc:sldMk cId="377007463" sldId="586"/>
        </pc:sldMkLst>
        <pc:spChg chg="mod">
          <ac:chgData name="Peter Eichenberger" userId="728f4d23-4a61-4401-9315-f0ce5ffabd34" providerId="ADAL" clId="{255E8B6A-517D-40F8-8E40-C3F69FE10DF6}" dt="2023-09-24T21:17:25.643" v="6128" actId="1076"/>
          <ac:spMkLst>
            <pc:docMk/>
            <pc:sldMk cId="377007463" sldId="586"/>
            <ac:spMk id="2" creationId="{00000000-0000-0000-0000-000000000000}"/>
          </ac:spMkLst>
        </pc:spChg>
        <pc:spChg chg="add del mod modVis">
          <ac:chgData name="Peter Eichenberger" userId="728f4d23-4a61-4401-9315-f0ce5ffabd34" providerId="ADAL" clId="{255E8B6A-517D-40F8-8E40-C3F69FE10DF6}" dt="2023-09-24T21:10:50.204" v="5808"/>
          <ac:spMkLst>
            <pc:docMk/>
            <pc:sldMk cId="377007463" sldId="586"/>
            <ac:spMk id="6" creationId="{4D5EC4E9-EC7E-2A8E-0BC8-E2E987B8AB6A}"/>
          </ac:spMkLst>
        </pc:spChg>
        <pc:spChg chg="mod">
          <ac:chgData name="Peter Eichenberger" userId="728f4d23-4a61-4401-9315-f0ce5ffabd34" providerId="ADAL" clId="{255E8B6A-517D-40F8-8E40-C3F69FE10DF6}" dt="2023-09-24T21:18:01.030" v="6142"/>
          <ac:spMkLst>
            <pc:docMk/>
            <pc:sldMk cId="377007463" sldId="586"/>
            <ac:spMk id="8" creationId="{00000000-0000-0000-0000-000000000000}"/>
          </ac:spMkLst>
        </pc:spChg>
        <pc:spChg chg="mod">
          <ac:chgData name="Peter Eichenberger" userId="728f4d23-4a61-4401-9315-f0ce5ffabd34" providerId="ADAL" clId="{255E8B6A-517D-40F8-8E40-C3F69FE10DF6}" dt="2023-09-24T21:17:37.338" v="6129" actId="1076"/>
          <ac:spMkLst>
            <pc:docMk/>
            <pc:sldMk cId="377007463" sldId="586"/>
            <ac:spMk id="9" creationId="{00000000-0000-0000-0000-000000000000}"/>
          </ac:spMkLst>
        </pc:spChg>
        <pc:spChg chg="mod">
          <ac:chgData name="Peter Eichenberger" userId="728f4d23-4a61-4401-9315-f0ce5ffabd34" providerId="ADAL" clId="{255E8B6A-517D-40F8-8E40-C3F69FE10DF6}" dt="2023-09-24T20:36:59.351" v="4723"/>
          <ac:spMkLst>
            <pc:docMk/>
            <pc:sldMk cId="377007463" sldId="586"/>
            <ac:spMk id="10" creationId="{00000000-0000-0000-0000-000000000000}"/>
          </ac:spMkLst>
        </pc:spChg>
        <pc:spChg chg="add del mod modVis">
          <ac:chgData name="Peter Eichenberger" userId="728f4d23-4a61-4401-9315-f0ce5ffabd34" providerId="ADAL" clId="{255E8B6A-517D-40F8-8E40-C3F69FE10DF6}" dt="2023-09-24T21:10:52.773" v="5850"/>
          <ac:spMkLst>
            <pc:docMk/>
            <pc:sldMk cId="377007463" sldId="586"/>
            <ac:spMk id="12" creationId="{5AF94B57-AB21-BF05-B715-0D8D70F2B808}"/>
          </ac:spMkLst>
        </pc:spChg>
        <pc:spChg chg="add del mod modVis">
          <ac:chgData name="Peter Eichenberger" userId="728f4d23-4a61-4401-9315-f0ce5ffabd34" providerId="ADAL" clId="{255E8B6A-517D-40F8-8E40-C3F69FE10DF6}" dt="2023-09-24T21:18:01.043" v="6167"/>
          <ac:spMkLst>
            <pc:docMk/>
            <pc:sldMk cId="377007463" sldId="586"/>
            <ac:spMk id="13" creationId="{628C73A9-EA93-01DE-A260-1991B41B4EF8}"/>
          </ac:spMkLst>
        </pc:spChg>
        <pc:graphicFrameChg chg="add mod ord modVis replST">
          <ac:chgData name="Peter Eichenberger" userId="728f4d23-4a61-4401-9315-f0ce5ffabd34" providerId="ADAL" clId="{255E8B6A-517D-40F8-8E40-C3F69FE10DF6}" dt="2023-09-24T21:18:01.045" v="6169"/>
          <ac:graphicFrameMkLst>
            <pc:docMk/>
            <pc:sldMk cId="377007463" sldId="586"/>
            <ac:graphicFrameMk id="7" creationId="{2B29B23F-3107-9252-AA3C-F7776EA328F8}"/>
          </ac:graphicFrameMkLst>
        </pc:graphicFrameChg>
        <pc:graphicFrameChg chg="mod">
          <ac:chgData name="Peter Eichenberger" userId="728f4d23-4a61-4401-9315-f0ce5ffabd34" providerId="ADAL" clId="{255E8B6A-517D-40F8-8E40-C3F69FE10DF6}" dt="2023-09-24T21:17:12.412" v="6114" actId="1076"/>
          <ac:graphicFrameMkLst>
            <pc:docMk/>
            <pc:sldMk cId="377007463" sldId="586"/>
            <ac:graphicFrameMk id="11" creationId="{00000000-0000-0000-0000-000000000000}"/>
          </ac:graphicFrameMkLst>
        </pc:graphicFrameChg>
      </pc:sldChg>
      <pc:sldChg chg="modSp mod ord modAnim">
        <pc:chgData name="Peter Eichenberger" userId="728f4d23-4a61-4401-9315-f0ce5ffabd34" providerId="ADAL" clId="{255E8B6A-517D-40F8-8E40-C3F69FE10DF6}" dt="2023-09-24T21:10:02.878" v="5770"/>
        <pc:sldMkLst>
          <pc:docMk/>
          <pc:sldMk cId="526961079" sldId="587"/>
        </pc:sldMkLst>
        <pc:spChg chg="mod">
          <ac:chgData name="Peter Eichenberger" userId="728f4d23-4a61-4401-9315-f0ce5ffabd34" providerId="ADAL" clId="{255E8B6A-517D-40F8-8E40-C3F69FE10DF6}" dt="2023-09-24T20:37:02.177" v="4724"/>
          <ac:spMkLst>
            <pc:docMk/>
            <pc:sldMk cId="526961079" sldId="587"/>
            <ac:spMk id="7" creationId="{00000000-0000-0000-0000-000000000000}"/>
          </ac:spMkLst>
        </pc:spChg>
      </pc:sldChg>
      <pc:sldChg chg="modSp del mod ord">
        <pc:chgData name="Peter Eichenberger" userId="728f4d23-4a61-4401-9315-f0ce5ffabd34" providerId="ADAL" clId="{255E8B6A-517D-40F8-8E40-C3F69FE10DF6}" dt="2023-09-24T20:58:11.899" v="5297" actId="47"/>
        <pc:sldMkLst>
          <pc:docMk/>
          <pc:sldMk cId="1531217916" sldId="590"/>
        </pc:sldMkLst>
        <pc:spChg chg="mod">
          <ac:chgData name="Peter Eichenberger" userId="728f4d23-4a61-4401-9315-f0ce5ffabd34" providerId="ADAL" clId="{255E8B6A-517D-40F8-8E40-C3F69FE10DF6}" dt="2023-09-24T20:36:50.349" v="4720"/>
          <ac:spMkLst>
            <pc:docMk/>
            <pc:sldMk cId="1531217916" sldId="590"/>
            <ac:spMk id="7" creationId="{00000000-0000-0000-0000-000000000000}"/>
          </ac:spMkLst>
        </pc:spChg>
      </pc:sldChg>
      <pc:sldChg chg="del">
        <pc:chgData name="Peter Eichenberger" userId="728f4d23-4a61-4401-9315-f0ce5ffabd34" providerId="ADAL" clId="{255E8B6A-517D-40F8-8E40-C3F69FE10DF6}" dt="2023-09-24T19:25:01.503" v="2197" actId="2696"/>
        <pc:sldMkLst>
          <pc:docMk/>
          <pc:sldMk cId="1255151347" sldId="595"/>
        </pc:sldMkLst>
      </pc:sldChg>
      <pc:sldChg chg="add del">
        <pc:chgData name="Peter Eichenberger" userId="728f4d23-4a61-4401-9315-f0ce5ffabd34" providerId="ADAL" clId="{255E8B6A-517D-40F8-8E40-C3F69FE10DF6}" dt="2023-09-24T21:42:57.195" v="7425" actId="47"/>
        <pc:sldMkLst>
          <pc:docMk/>
          <pc:sldMk cId="2007850565" sldId="595"/>
        </pc:sldMkLst>
      </pc:sldChg>
      <pc:sldChg chg="del">
        <pc:chgData name="Peter Eichenberger" userId="728f4d23-4a61-4401-9315-f0ce5ffabd34" providerId="ADAL" clId="{255E8B6A-517D-40F8-8E40-C3F69FE10DF6}" dt="2023-09-24T19:25:01.503" v="2197" actId="2696"/>
        <pc:sldMkLst>
          <pc:docMk/>
          <pc:sldMk cId="1375829301" sldId="596"/>
        </pc:sldMkLst>
      </pc:sldChg>
      <pc:sldChg chg="add del">
        <pc:chgData name="Peter Eichenberger" userId="728f4d23-4a61-4401-9315-f0ce5ffabd34" providerId="ADAL" clId="{255E8B6A-517D-40F8-8E40-C3F69FE10DF6}" dt="2023-09-24T21:31:39.597" v="6892" actId="47"/>
        <pc:sldMkLst>
          <pc:docMk/>
          <pc:sldMk cId="4066248415" sldId="596"/>
        </pc:sldMkLst>
      </pc:sldChg>
      <pc:sldChg chg="del">
        <pc:chgData name="Peter Eichenberger" userId="728f4d23-4a61-4401-9315-f0ce5ffabd34" providerId="ADAL" clId="{255E8B6A-517D-40F8-8E40-C3F69FE10DF6}" dt="2023-09-24T19:47:38.355" v="2669" actId="47"/>
        <pc:sldMkLst>
          <pc:docMk/>
          <pc:sldMk cId="518047616" sldId="601"/>
        </pc:sldMkLst>
      </pc:sldChg>
      <pc:sldChg chg="addSp delSp modSp mod">
        <pc:chgData name="Peter Eichenberger" userId="728f4d23-4a61-4401-9315-f0ce5ffabd34" providerId="ADAL" clId="{255E8B6A-517D-40F8-8E40-C3F69FE10DF6}" dt="2023-09-24T21:27:07.145" v="6806" actId="1036"/>
        <pc:sldMkLst>
          <pc:docMk/>
          <pc:sldMk cId="1125461064" sldId="603"/>
        </pc:sldMkLst>
        <pc:spChg chg="mod">
          <ac:chgData name="Peter Eichenberger" userId="728f4d23-4a61-4401-9315-f0ce5ffabd34" providerId="ADAL" clId="{255E8B6A-517D-40F8-8E40-C3F69FE10DF6}" dt="2023-09-24T21:26:30.595" v="6772" actId="948"/>
          <ac:spMkLst>
            <pc:docMk/>
            <pc:sldMk cId="1125461064" sldId="603"/>
            <ac:spMk id="5" creationId="{00000000-0000-0000-0000-000000000000}"/>
          </ac:spMkLst>
        </pc:spChg>
        <pc:spChg chg="mod">
          <ac:chgData name="Peter Eichenberger" userId="728f4d23-4a61-4401-9315-f0ce5ffabd34" providerId="ADAL" clId="{255E8B6A-517D-40F8-8E40-C3F69FE10DF6}" dt="2023-09-24T21:26:54.134" v="6801" actId="20577"/>
          <ac:spMkLst>
            <pc:docMk/>
            <pc:sldMk cId="1125461064" sldId="603"/>
            <ac:spMk id="6" creationId="{00000000-0000-0000-0000-000000000000}"/>
          </ac:spMkLst>
        </pc:spChg>
        <pc:spChg chg="mod">
          <ac:chgData name="Peter Eichenberger" userId="728f4d23-4a61-4401-9315-f0ce5ffabd34" providerId="ADAL" clId="{255E8B6A-517D-40F8-8E40-C3F69FE10DF6}" dt="2023-09-24T20:37:11.522" v="4728"/>
          <ac:spMkLst>
            <pc:docMk/>
            <pc:sldMk cId="1125461064" sldId="603"/>
            <ac:spMk id="7" creationId="{00000000-0000-0000-0000-000000000000}"/>
          </ac:spMkLst>
        </pc:spChg>
        <pc:spChg chg="add del mod modVis">
          <ac:chgData name="Peter Eichenberger" userId="728f4d23-4a61-4401-9315-f0ce5ffabd34" providerId="ADAL" clId="{255E8B6A-517D-40F8-8E40-C3F69FE10DF6}" dt="2023-09-24T21:26:27.940" v="6755"/>
          <ac:spMkLst>
            <pc:docMk/>
            <pc:sldMk cId="1125461064" sldId="603"/>
            <ac:spMk id="9" creationId="{A5C5C2F9-FEB0-867E-D6EC-82458CBE14C5}"/>
          </ac:spMkLst>
        </pc:spChg>
        <pc:spChg chg="add del mod modVis">
          <ac:chgData name="Peter Eichenberger" userId="728f4d23-4a61-4401-9315-f0ce5ffabd34" providerId="ADAL" clId="{255E8B6A-517D-40F8-8E40-C3F69FE10DF6}" dt="2023-09-24T21:26:30.608" v="6797"/>
          <ac:spMkLst>
            <pc:docMk/>
            <pc:sldMk cId="1125461064" sldId="603"/>
            <ac:spMk id="11" creationId="{1A609057-4678-3F4A-D102-E3172FEDF1EF}"/>
          </ac:spMkLst>
        </pc:spChg>
        <pc:graphicFrameChg chg="add mod ord modVis replST">
          <ac:chgData name="Peter Eichenberger" userId="728f4d23-4a61-4401-9315-f0ce5ffabd34" providerId="ADAL" clId="{255E8B6A-517D-40F8-8E40-C3F69FE10DF6}" dt="2023-09-24T21:26:30.610" v="6799"/>
          <ac:graphicFrameMkLst>
            <pc:docMk/>
            <pc:sldMk cId="1125461064" sldId="603"/>
            <ac:graphicFrameMk id="10" creationId="{C293EB18-A62B-72F3-2AD0-6560F9C8BC78}"/>
          </ac:graphicFrameMkLst>
        </pc:graphicFrameChg>
        <pc:picChg chg="mod">
          <ac:chgData name="Peter Eichenberger" userId="728f4d23-4a61-4401-9315-f0ce5ffabd34" providerId="ADAL" clId="{255E8B6A-517D-40F8-8E40-C3F69FE10DF6}" dt="2023-09-24T21:27:07.145" v="6806" actId="1036"/>
          <ac:picMkLst>
            <pc:docMk/>
            <pc:sldMk cId="1125461064" sldId="603"/>
            <ac:picMk id="8" creationId="{00000000-0000-0000-0000-000000000000}"/>
          </ac:picMkLst>
        </pc:picChg>
      </pc:sldChg>
      <pc:sldChg chg="addSp delSp modSp mod ord">
        <pc:chgData name="Peter Eichenberger" userId="728f4d23-4a61-4401-9315-f0ce5ffabd34" providerId="ADAL" clId="{255E8B6A-517D-40F8-8E40-C3F69FE10DF6}" dt="2023-09-24T20:43:22.913" v="4960" actId="478"/>
        <pc:sldMkLst>
          <pc:docMk/>
          <pc:sldMk cId="624175464" sldId="605"/>
        </pc:sldMkLst>
        <pc:spChg chg="mod ord">
          <ac:chgData name="Peter Eichenberger" userId="728f4d23-4a61-4401-9315-f0ce5ffabd34" providerId="ADAL" clId="{255E8B6A-517D-40F8-8E40-C3F69FE10DF6}" dt="2023-09-24T19:09:28.511" v="2046"/>
          <ac:spMkLst>
            <pc:docMk/>
            <pc:sldMk cId="624175464" sldId="605"/>
            <ac:spMk id="2" creationId="{6F90DF9B-6797-266D-FB59-8C6355075AFB}"/>
          </ac:spMkLst>
        </pc:spChg>
        <pc:spChg chg="mod ord">
          <ac:chgData name="Peter Eichenberger" userId="728f4d23-4a61-4401-9315-f0ce5ffabd34" providerId="ADAL" clId="{255E8B6A-517D-40F8-8E40-C3F69FE10DF6}" dt="2023-09-24T19:09:28.512" v="2048"/>
          <ac:spMkLst>
            <pc:docMk/>
            <pc:sldMk cId="624175464" sldId="605"/>
            <ac:spMk id="3" creationId="{22AE1ABE-3AB5-DEAF-3E79-8485384D34BB}"/>
          </ac:spMkLst>
        </pc:spChg>
        <pc:spChg chg="mod ord">
          <ac:chgData name="Peter Eichenberger" userId="728f4d23-4a61-4401-9315-f0ce5ffabd34" providerId="ADAL" clId="{255E8B6A-517D-40F8-8E40-C3F69FE10DF6}" dt="2023-09-24T19:09:28.512" v="2050"/>
          <ac:spMkLst>
            <pc:docMk/>
            <pc:sldMk cId="624175464" sldId="605"/>
            <ac:spMk id="4" creationId="{2993FB47-BD7E-CBF0-79ED-EAEDA335AA44}"/>
          </ac:spMkLst>
        </pc:spChg>
        <pc:spChg chg="mod ord">
          <ac:chgData name="Peter Eichenberger" userId="728f4d23-4a61-4401-9315-f0ce5ffabd34" providerId="ADAL" clId="{255E8B6A-517D-40F8-8E40-C3F69FE10DF6}" dt="2023-09-24T19:09:28.512" v="2052"/>
          <ac:spMkLst>
            <pc:docMk/>
            <pc:sldMk cId="624175464" sldId="605"/>
            <ac:spMk id="5" creationId="{3DCF634E-3A0A-522E-4439-B09001E3C64F}"/>
          </ac:spMkLst>
        </pc:spChg>
        <pc:spChg chg="mod ord">
          <ac:chgData name="Peter Eichenberger" userId="728f4d23-4a61-4401-9315-f0ce5ffabd34" providerId="ADAL" clId="{255E8B6A-517D-40F8-8E40-C3F69FE10DF6}" dt="2023-09-24T19:09:28.512" v="2054"/>
          <ac:spMkLst>
            <pc:docMk/>
            <pc:sldMk cId="624175464" sldId="605"/>
            <ac:spMk id="7" creationId="{06B774B5-E968-4484-6929-D54CDB431303}"/>
          </ac:spMkLst>
        </pc:spChg>
        <pc:spChg chg="add mod ord">
          <ac:chgData name="Peter Eichenberger" userId="728f4d23-4a61-4401-9315-f0ce5ffabd34" providerId="ADAL" clId="{255E8B6A-517D-40F8-8E40-C3F69FE10DF6}" dt="2023-09-24T19:10:38.897" v="2102" actId="1076"/>
          <ac:spMkLst>
            <pc:docMk/>
            <pc:sldMk cId="624175464" sldId="605"/>
            <ac:spMk id="12" creationId="{D526BB43-A032-B82D-1848-2F37DD62FC34}"/>
          </ac:spMkLst>
        </pc:spChg>
        <pc:spChg chg="mod ord">
          <ac:chgData name="Peter Eichenberger" userId="728f4d23-4a61-4401-9315-f0ce5ffabd34" providerId="ADAL" clId="{255E8B6A-517D-40F8-8E40-C3F69FE10DF6}" dt="2023-09-24T19:10:38.897" v="2102" actId="1076"/>
          <ac:spMkLst>
            <pc:docMk/>
            <pc:sldMk cId="624175464" sldId="605"/>
            <ac:spMk id="14" creationId="{6197DAB5-DED0-50AE-495F-4CFAD3F7F77C}"/>
          </ac:spMkLst>
        </pc:spChg>
        <pc:spChg chg="del mod">
          <ac:chgData name="Peter Eichenberger" userId="728f4d23-4a61-4401-9315-f0ce5ffabd34" providerId="ADAL" clId="{255E8B6A-517D-40F8-8E40-C3F69FE10DF6}" dt="2023-09-24T19:06:06.822" v="1667" actId="478"/>
          <ac:spMkLst>
            <pc:docMk/>
            <pc:sldMk cId="624175464" sldId="605"/>
            <ac:spMk id="15" creationId="{C231898A-EA9A-D058-C5CE-397559BC72BE}"/>
          </ac:spMkLst>
        </pc:spChg>
        <pc:spChg chg="mod ord">
          <ac:chgData name="Peter Eichenberger" userId="728f4d23-4a61-4401-9315-f0ce5ffabd34" providerId="ADAL" clId="{255E8B6A-517D-40F8-8E40-C3F69FE10DF6}" dt="2023-09-24T19:10:38.897" v="2102" actId="1076"/>
          <ac:spMkLst>
            <pc:docMk/>
            <pc:sldMk cId="624175464" sldId="605"/>
            <ac:spMk id="16" creationId="{5425607F-148C-ED92-BB63-E7F100AE45C4}"/>
          </ac:spMkLst>
        </pc:spChg>
        <pc:spChg chg="add mod ord">
          <ac:chgData name="Peter Eichenberger" userId="728f4d23-4a61-4401-9315-f0ce5ffabd34" providerId="ADAL" clId="{255E8B6A-517D-40F8-8E40-C3F69FE10DF6}" dt="2023-09-24T19:10:38.897" v="2102" actId="1076"/>
          <ac:spMkLst>
            <pc:docMk/>
            <pc:sldMk cId="624175464" sldId="605"/>
            <ac:spMk id="17" creationId="{F44BF900-59D8-A413-600E-21EA81DC1EF2}"/>
          </ac:spMkLst>
        </pc:spChg>
        <pc:spChg chg="add mod ord">
          <ac:chgData name="Peter Eichenberger" userId="728f4d23-4a61-4401-9315-f0ce5ffabd34" providerId="ADAL" clId="{255E8B6A-517D-40F8-8E40-C3F69FE10DF6}" dt="2023-09-24T19:10:38.897" v="2102" actId="1076"/>
          <ac:spMkLst>
            <pc:docMk/>
            <pc:sldMk cId="624175464" sldId="605"/>
            <ac:spMk id="18" creationId="{B91EC888-9157-AC1E-6E5E-E9D2705B5EDF}"/>
          </ac:spMkLst>
        </pc:spChg>
        <pc:spChg chg="mod ord">
          <ac:chgData name="Peter Eichenberger" userId="728f4d23-4a61-4401-9315-f0ce5ffabd34" providerId="ADAL" clId="{255E8B6A-517D-40F8-8E40-C3F69FE10DF6}" dt="2023-09-24T19:10:38.897" v="2102" actId="1076"/>
          <ac:spMkLst>
            <pc:docMk/>
            <pc:sldMk cId="624175464" sldId="605"/>
            <ac:spMk id="19" creationId="{B53B5E0E-E278-54CD-9748-C1FCC75A33A3}"/>
          </ac:spMkLst>
        </pc:spChg>
        <pc:spChg chg="mod ord">
          <ac:chgData name="Peter Eichenberger" userId="728f4d23-4a61-4401-9315-f0ce5ffabd34" providerId="ADAL" clId="{255E8B6A-517D-40F8-8E40-C3F69FE10DF6}" dt="2023-09-24T19:10:38.897" v="2102" actId="1076"/>
          <ac:spMkLst>
            <pc:docMk/>
            <pc:sldMk cId="624175464" sldId="605"/>
            <ac:spMk id="20" creationId="{98E2B6D1-851B-BFFB-F44E-0D8C51EBB3EB}"/>
          </ac:spMkLst>
        </pc:spChg>
        <pc:spChg chg="del mod">
          <ac:chgData name="Peter Eichenberger" userId="728f4d23-4a61-4401-9315-f0ce5ffabd34" providerId="ADAL" clId="{255E8B6A-517D-40F8-8E40-C3F69FE10DF6}" dt="2023-09-24T19:06:08.115" v="1669" actId="478"/>
          <ac:spMkLst>
            <pc:docMk/>
            <pc:sldMk cId="624175464" sldId="605"/>
            <ac:spMk id="21" creationId="{91C5B12D-BA56-03AB-A539-7EE244BB30F0}"/>
          </ac:spMkLst>
        </pc:spChg>
        <pc:spChg chg="mod ord">
          <ac:chgData name="Peter Eichenberger" userId="728f4d23-4a61-4401-9315-f0ce5ffabd34" providerId="ADAL" clId="{255E8B6A-517D-40F8-8E40-C3F69FE10DF6}" dt="2023-09-24T19:10:38.897" v="2102" actId="1076"/>
          <ac:spMkLst>
            <pc:docMk/>
            <pc:sldMk cId="624175464" sldId="605"/>
            <ac:spMk id="22" creationId="{53D79028-94BE-8E68-181C-DDE367D01970}"/>
          </ac:spMkLst>
        </pc:spChg>
        <pc:spChg chg="mod ord">
          <ac:chgData name="Peter Eichenberger" userId="728f4d23-4a61-4401-9315-f0ce5ffabd34" providerId="ADAL" clId="{255E8B6A-517D-40F8-8E40-C3F69FE10DF6}" dt="2023-09-24T19:10:38.897" v="2102" actId="1076"/>
          <ac:spMkLst>
            <pc:docMk/>
            <pc:sldMk cId="624175464" sldId="605"/>
            <ac:spMk id="23" creationId="{2279DB0B-929F-C939-BC76-EC8C8E600B8C}"/>
          </ac:spMkLst>
        </pc:spChg>
        <pc:spChg chg="add mod ord">
          <ac:chgData name="Peter Eichenberger" userId="728f4d23-4a61-4401-9315-f0ce5ffabd34" providerId="ADAL" clId="{255E8B6A-517D-40F8-8E40-C3F69FE10DF6}" dt="2023-09-24T19:10:38.897" v="2102" actId="1076"/>
          <ac:spMkLst>
            <pc:docMk/>
            <pc:sldMk cId="624175464" sldId="605"/>
            <ac:spMk id="24" creationId="{A0980AC5-4F75-27B1-E276-5F70A905BC6E}"/>
          </ac:spMkLst>
        </pc:spChg>
        <pc:spChg chg="add mod ord">
          <ac:chgData name="Peter Eichenberger" userId="728f4d23-4a61-4401-9315-f0ce5ffabd34" providerId="ADAL" clId="{255E8B6A-517D-40F8-8E40-C3F69FE10DF6}" dt="2023-09-24T19:10:38.897" v="2102" actId="1076"/>
          <ac:spMkLst>
            <pc:docMk/>
            <pc:sldMk cId="624175464" sldId="605"/>
            <ac:spMk id="25" creationId="{66820FC8-8E0A-0724-C309-1E906E87F190}"/>
          </ac:spMkLst>
        </pc:spChg>
        <pc:spChg chg="mod ord">
          <ac:chgData name="Peter Eichenberger" userId="728f4d23-4a61-4401-9315-f0ce5ffabd34" providerId="ADAL" clId="{255E8B6A-517D-40F8-8E40-C3F69FE10DF6}" dt="2023-09-24T19:10:38.897" v="2102" actId="1076"/>
          <ac:spMkLst>
            <pc:docMk/>
            <pc:sldMk cId="624175464" sldId="605"/>
            <ac:spMk id="28" creationId="{E8F53415-2E2C-7372-92C0-B3EE5D457461}"/>
          </ac:spMkLst>
        </pc:spChg>
        <pc:spChg chg="add mod ord">
          <ac:chgData name="Peter Eichenberger" userId="728f4d23-4a61-4401-9315-f0ce5ffabd34" providerId="ADAL" clId="{255E8B6A-517D-40F8-8E40-C3F69FE10DF6}" dt="2023-09-24T19:10:38.897" v="2102" actId="1076"/>
          <ac:spMkLst>
            <pc:docMk/>
            <pc:sldMk cId="624175464" sldId="605"/>
            <ac:spMk id="29" creationId="{5C591719-BE9A-E486-2118-5B0C5FBB37C3}"/>
          </ac:spMkLst>
        </pc:spChg>
        <pc:spChg chg="add mod ord">
          <ac:chgData name="Peter Eichenberger" userId="728f4d23-4a61-4401-9315-f0ce5ffabd34" providerId="ADAL" clId="{255E8B6A-517D-40F8-8E40-C3F69FE10DF6}" dt="2023-09-24T19:10:38.897" v="2102" actId="1076"/>
          <ac:spMkLst>
            <pc:docMk/>
            <pc:sldMk cId="624175464" sldId="605"/>
            <ac:spMk id="30" creationId="{A6F379EE-3FE4-9FD9-7622-ABB1D4BE556B}"/>
          </ac:spMkLst>
        </pc:spChg>
        <pc:spChg chg="add del mod modVis">
          <ac:chgData name="Peter Eichenberger" userId="728f4d23-4a61-4401-9315-f0ce5ffabd34" providerId="ADAL" clId="{255E8B6A-517D-40F8-8E40-C3F69FE10DF6}" dt="2023-09-24T19:07:41.466" v="1768"/>
          <ac:spMkLst>
            <pc:docMk/>
            <pc:sldMk cId="624175464" sldId="605"/>
            <ac:spMk id="31" creationId="{7A95720E-F969-9833-02A5-5189F1C10874}"/>
          </ac:spMkLst>
        </pc:spChg>
        <pc:spChg chg="add del mod">
          <ac:chgData name="Peter Eichenberger" userId="728f4d23-4a61-4401-9315-f0ce5ffabd34" providerId="ADAL" clId="{255E8B6A-517D-40F8-8E40-C3F69FE10DF6}" dt="2023-09-24T19:45:56.015" v="2605" actId="478"/>
          <ac:spMkLst>
            <pc:docMk/>
            <pc:sldMk cId="624175464" sldId="605"/>
            <ac:spMk id="32" creationId="{60CD372F-2008-EA77-E9EA-51E332BFCAB0}"/>
          </ac:spMkLst>
        </pc:spChg>
        <pc:spChg chg="add del mod">
          <ac:chgData name="Peter Eichenberger" userId="728f4d23-4a61-4401-9315-f0ce5ffabd34" providerId="ADAL" clId="{255E8B6A-517D-40F8-8E40-C3F69FE10DF6}" dt="2023-09-24T19:51:28.790" v="3089" actId="478"/>
          <ac:spMkLst>
            <pc:docMk/>
            <pc:sldMk cId="624175464" sldId="605"/>
            <ac:spMk id="34" creationId="{39BDA316-46C3-030F-F5D3-FE2DEF324DC6}"/>
          </ac:spMkLst>
        </pc:spChg>
        <pc:graphicFrameChg chg="mod">
          <ac:chgData name="Peter Eichenberger" userId="728f4d23-4a61-4401-9315-f0ce5ffabd34" providerId="ADAL" clId="{255E8B6A-517D-40F8-8E40-C3F69FE10DF6}" dt="2023-09-24T19:09:28.519" v="2092"/>
          <ac:graphicFrameMkLst>
            <pc:docMk/>
            <pc:sldMk cId="624175464" sldId="605"/>
            <ac:graphicFrameMk id="9" creationId="{EF9E0672-082A-F695-ED15-71FE4BE854E3}"/>
          </ac:graphicFrameMkLst>
        </pc:graphicFrameChg>
        <pc:picChg chg="add del mod ord">
          <ac:chgData name="Peter Eichenberger" userId="728f4d23-4a61-4401-9315-f0ce5ffabd34" providerId="ADAL" clId="{255E8B6A-517D-40F8-8E40-C3F69FE10DF6}" dt="2023-09-24T20:43:21.764" v="4958" actId="478"/>
          <ac:picMkLst>
            <pc:docMk/>
            <pc:sldMk cId="624175464" sldId="605"/>
            <ac:picMk id="8" creationId="{D3BC00B1-BA5A-CFEA-74D0-E817EE31C11B}"/>
          </ac:picMkLst>
        </pc:picChg>
        <pc:picChg chg="add mod">
          <ac:chgData name="Peter Eichenberger" userId="728f4d23-4a61-4401-9315-f0ce5ffabd34" providerId="ADAL" clId="{255E8B6A-517D-40F8-8E40-C3F69FE10DF6}" dt="2023-09-24T19:10:38.897" v="2102" actId="1076"/>
          <ac:picMkLst>
            <pc:docMk/>
            <pc:sldMk cId="624175464" sldId="605"/>
            <ac:picMk id="10" creationId="{9E14122A-7E5A-BBD9-694E-D76B1C6C8139}"/>
          </ac:picMkLst>
        </pc:picChg>
        <pc:picChg chg="add mod">
          <ac:chgData name="Peter Eichenberger" userId="728f4d23-4a61-4401-9315-f0ce5ffabd34" providerId="ADAL" clId="{255E8B6A-517D-40F8-8E40-C3F69FE10DF6}" dt="2023-09-24T20:41:35.362" v="4907" actId="1076"/>
          <ac:picMkLst>
            <pc:docMk/>
            <pc:sldMk cId="624175464" sldId="605"/>
            <ac:picMk id="11" creationId="{50F12806-8E0F-44A9-FC9A-B7B17C358537}"/>
          </ac:picMkLst>
        </pc:picChg>
        <pc:picChg chg="del mod">
          <ac:chgData name="Peter Eichenberger" userId="728f4d23-4a61-4401-9315-f0ce5ffabd34" providerId="ADAL" clId="{255E8B6A-517D-40F8-8E40-C3F69FE10DF6}" dt="2023-09-24T20:43:22.913" v="4960" actId="478"/>
          <ac:picMkLst>
            <pc:docMk/>
            <pc:sldMk cId="624175464" sldId="605"/>
            <ac:picMk id="13" creationId="{2286A586-9EED-9E96-16F8-EF5662E68137}"/>
          </ac:picMkLst>
        </pc:picChg>
        <pc:picChg chg="add del">
          <ac:chgData name="Peter Eichenberger" userId="728f4d23-4a61-4401-9315-f0ce5ffabd34" providerId="ADAL" clId="{255E8B6A-517D-40F8-8E40-C3F69FE10DF6}" dt="2023-09-24T19:06:06.290" v="1666" actId="478"/>
          <ac:picMkLst>
            <pc:docMk/>
            <pc:sldMk cId="624175464" sldId="605"/>
            <ac:picMk id="26" creationId="{A87789E2-6FBD-218F-5012-AEB25A53F381}"/>
          </ac:picMkLst>
        </pc:picChg>
        <pc:picChg chg="del mod">
          <ac:chgData name="Peter Eichenberger" userId="728f4d23-4a61-4401-9315-f0ce5ffabd34" providerId="ADAL" clId="{255E8B6A-517D-40F8-8E40-C3F69FE10DF6}" dt="2023-09-24T20:43:22.398" v="4959" actId="478"/>
          <ac:picMkLst>
            <pc:docMk/>
            <pc:sldMk cId="624175464" sldId="605"/>
            <ac:picMk id="27" creationId="{1660833E-3C0A-C873-2740-35E4E3BDD8AF}"/>
          </ac:picMkLst>
        </pc:picChg>
        <pc:picChg chg="del">
          <ac:chgData name="Peter Eichenberger" userId="728f4d23-4a61-4401-9315-f0ce5ffabd34" providerId="ADAL" clId="{255E8B6A-517D-40F8-8E40-C3F69FE10DF6}" dt="2023-09-24T19:06:07.451" v="1668" actId="478"/>
          <ac:picMkLst>
            <pc:docMk/>
            <pc:sldMk cId="624175464" sldId="605"/>
            <ac:picMk id="1026" creationId="{31DD0528-90BC-C607-C590-A16119E4C81B}"/>
          </ac:picMkLst>
        </pc:picChg>
      </pc:sldChg>
      <pc:sldChg chg="addSp delSp modSp add mod ord modAnim">
        <pc:chgData name="Peter Eichenberger" userId="728f4d23-4a61-4401-9315-f0ce5ffabd34" providerId="ADAL" clId="{255E8B6A-517D-40F8-8E40-C3F69FE10DF6}" dt="2023-09-24T20:43:45.613" v="4961" actId="478"/>
        <pc:sldMkLst>
          <pc:docMk/>
          <pc:sldMk cId="3742742669" sldId="606"/>
        </pc:sldMkLst>
        <pc:spChg chg="mod">
          <ac:chgData name="Peter Eichenberger" userId="728f4d23-4a61-4401-9315-f0ce5ffabd34" providerId="ADAL" clId="{255E8B6A-517D-40F8-8E40-C3F69FE10DF6}" dt="2023-09-24T19:46:45.451" v="2639"/>
          <ac:spMkLst>
            <pc:docMk/>
            <pc:sldMk cId="3742742669" sldId="606"/>
            <ac:spMk id="5" creationId="{F0A65CD9-C530-9AFB-3BEA-4265C3FFE884}"/>
          </ac:spMkLst>
        </pc:spChg>
        <pc:spChg chg="mod">
          <ac:chgData name="Peter Eichenberger" userId="728f4d23-4a61-4401-9315-f0ce5ffabd34" providerId="ADAL" clId="{255E8B6A-517D-40F8-8E40-C3F69FE10DF6}" dt="2023-09-24T19:46:55.573" v="2668" actId="113"/>
          <ac:spMkLst>
            <pc:docMk/>
            <pc:sldMk cId="3742742669" sldId="606"/>
            <ac:spMk id="6" creationId="{CFA3D41A-B160-E0F2-6B34-9EF569CF640C}"/>
          </ac:spMkLst>
        </pc:spChg>
        <pc:spChg chg="add del mod modVis">
          <ac:chgData name="Peter Eichenberger" userId="728f4d23-4a61-4401-9315-f0ce5ffabd34" providerId="ADAL" clId="{255E8B6A-517D-40F8-8E40-C3F69FE10DF6}" dt="2023-09-24T19:38:13.419" v="2378"/>
          <ac:spMkLst>
            <pc:docMk/>
            <pc:sldMk cId="3742742669" sldId="606"/>
            <ac:spMk id="10" creationId="{F1B2CFCA-6746-E5CE-6659-48A6AEE5E947}"/>
          </ac:spMkLst>
        </pc:spChg>
        <pc:spChg chg="add mod">
          <ac:chgData name="Peter Eichenberger" userId="728f4d23-4a61-4401-9315-f0ce5ffabd34" providerId="ADAL" clId="{255E8B6A-517D-40F8-8E40-C3F69FE10DF6}" dt="2023-09-24T19:44:38.986" v="2514" actId="1076"/>
          <ac:spMkLst>
            <pc:docMk/>
            <pc:sldMk cId="3742742669" sldId="606"/>
            <ac:spMk id="12" creationId="{DA7BCDF8-9FF3-BB96-C2C2-D619FBD97B4D}"/>
          </ac:spMkLst>
        </pc:spChg>
        <pc:spChg chg="add del mod modVis">
          <ac:chgData name="Peter Eichenberger" userId="728f4d23-4a61-4401-9315-f0ce5ffabd34" providerId="ADAL" clId="{255E8B6A-517D-40F8-8E40-C3F69FE10DF6}" dt="2023-09-24T19:46:42.373" v="2634"/>
          <ac:spMkLst>
            <pc:docMk/>
            <pc:sldMk cId="3742742669" sldId="606"/>
            <ac:spMk id="13" creationId="{6453F556-2FC0-4773-1464-4B041BE48138}"/>
          </ac:spMkLst>
        </pc:spChg>
        <pc:spChg chg="add del mod modVis">
          <ac:chgData name="Peter Eichenberger" userId="728f4d23-4a61-4401-9315-f0ce5ffabd34" providerId="ADAL" clId="{255E8B6A-517D-40F8-8E40-C3F69FE10DF6}" dt="2023-09-24T19:46:45.464" v="2664"/>
          <ac:spMkLst>
            <pc:docMk/>
            <pc:sldMk cId="3742742669" sldId="606"/>
            <ac:spMk id="14" creationId="{CEF6E123-D8CF-AEE5-BD66-57DCFB95D5B2}"/>
          </ac:spMkLst>
        </pc:spChg>
        <pc:graphicFrameChg chg="mod">
          <ac:chgData name="Peter Eichenberger" userId="728f4d23-4a61-4401-9315-f0ce5ffabd34" providerId="ADAL" clId="{255E8B6A-517D-40F8-8E40-C3F69FE10DF6}" dt="2023-09-24T19:46:45.466" v="2666"/>
          <ac:graphicFrameMkLst>
            <pc:docMk/>
            <pc:sldMk cId="3742742669" sldId="606"/>
            <ac:graphicFrameMk id="9" creationId="{79E9C736-B4FA-FA18-6AC5-4A830E301591}"/>
          </ac:graphicFrameMkLst>
        </pc:graphicFrameChg>
        <pc:picChg chg="del">
          <ac:chgData name="Peter Eichenberger" userId="728f4d23-4a61-4401-9315-f0ce5ffabd34" providerId="ADAL" clId="{255E8B6A-517D-40F8-8E40-C3F69FE10DF6}" dt="2023-09-24T19:24:34.823" v="2192" actId="478"/>
          <ac:picMkLst>
            <pc:docMk/>
            <pc:sldMk cId="3742742669" sldId="606"/>
            <ac:picMk id="8" creationId="{CB47403E-56D7-7C54-1D94-20C1C513BB61}"/>
          </ac:picMkLst>
        </pc:picChg>
        <pc:picChg chg="add mod">
          <ac:chgData name="Peter Eichenberger" userId="728f4d23-4a61-4401-9315-f0ce5ffabd34" providerId="ADAL" clId="{255E8B6A-517D-40F8-8E40-C3F69FE10DF6}" dt="2023-09-24T19:41:06.410" v="2411" actId="1076"/>
          <ac:picMkLst>
            <pc:docMk/>
            <pc:sldMk cId="3742742669" sldId="606"/>
            <ac:picMk id="11" creationId="{2062E7DC-81D9-6252-331F-96485B76D9F8}"/>
          </ac:picMkLst>
        </pc:picChg>
        <pc:picChg chg="del mod">
          <ac:chgData name="Peter Eichenberger" userId="728f4d23-4a61-4401-9315-f0ce5ffabd34" providerId="ADAL" clId="{255E8B6A-517D-40F8-8E40-C3F69FE10DF6}" dt="2023-09-24T20:43:45.613" v="4961" actId="478"/>
          <ac:picMkLst>
            <pc:docMk/>
            <pc:sldMk cId="3742742669" sldId="606"/>
            <ac:picMk id="1026" creationId="{F9BC6BBD-B23C-220D-E943-5C4142879AF0}"/>
          </ac:picMkLst>
        </pc:picChg>
        <pc:picChg chg="add del mod">
          <ac:chgData name="Peter Eichenberger" userId="728f4d23-4a61-4401-9315-f0ce5ffabd34" providerId="ADAL" clId="{255E8B6A-517D-40F8-8E40-C3F69FE10DF6}" dt="2023-09-24T19:38:52.043" v="2382" actId="478"/>
          <ac:picMkLst>
            <pc:docMk/>
            <pc:sldMk cId="3742742669" sldId="606"/>
            <ac:picMk id="2050" creationId="{F0A2B7D1-4595-0814-3731-7223C72AFF4B}"/>
          </ac:picMkLst>
        </pc:picChg>
      </pc:sldChg>
      <pc:sldChg chg="addSp modSp del mod">
        <pc:chgData name="Peter Eichenberger" userId="728f4d23-4a61-4401-9315-f0ce5ffabd34" providerId="ADAL" clId="{255E8B6A-517D-40F8-8E40-C3F69FE10DF6}" dt="2023-09-24T19:24:27.248" v="2190" actId="2696"/>
        <pc:sldMkLst>
          <pc:docMk/>
          <pc:sldMk cId="3994551755" sldId="606"/>
        </pc:sldMkLst>
        <pc:spChg chg="mod">
          <ac:chgData name="Peter Eichenberger" userId="728f4d23-4a61-4401-9315-f0ce5ffabd34" providerId="ADAL" clId="{255E8B6A-517D-40F8-8E40-C3F69FE10DF6}" dt="2023-09-24T18:31:02.760" v="680" actId="15"/>
          <ac:spMkLst>
            <pc:docMk/>
            <pc:sldMk cId="3994551755" sldId="606"/>
            <ac:spMk id="6" creationId="{CFA3D41A-B160-E0F2-6B34-9EF569CF640C}"/>
          </ac:spMkLst>
        </pc:spChg>
        <pc:picChg chg="add mod">
          <ac:chgData name="Peter Eichenberger" userId="728f4d23-4a61-4401-9315-f0ce5ffabd34" providerId="ADAL" clId="{255E8B6A-517D-40F8-8E40-C3F69FE10DF6}" dt="2023-09-24T19:23:58.360" v="2189" actId="732"/>
          <ac:picMkLst>
            <pc:docMk/>
            <pc:sldMk cId="3994551755" sldId="606"/>
            <ac:picMk id="8" creationId="{CB47403E-56D7-7C54-1D94-20C1C513BB61}"/>
          </ac:picMkLst>
        </pc:picChg>
        <pc:picChg chg="mod">
          <ac:chgData name="Peter Eichenberger" userId="728f4d23-4a61-4401-9315-f0ce5ffabd34" providerId="ADAL" clId="{255E8B6A-517D-40F8-8E40-C3F69FE10DF6}" dt="2023-09-24T18:20:07.838" v="146" actId="14100"/>
          <ac:picMkLst>
            <pc:docMk/>
            <pc:sldMk cId="3994551755" sldId="606"/>
            <ac:picMk id="1026" creationId="{F9BC6BBD-B23C-220D-E943-5C4142879AF0}"/>
          </ac:picMkLst>
        </pc:picChg>
      </pc:sldChg>
      <pc:sldChg chg="del">
        <pc:chgData name="Peter Eichenberger" userId="728f4d23-4a61-4401-9315-f0ce5ffabd34" providerId="ADAL" clId="{255E8B6A-517D-40F8-8E40-C3F69FE10DF6}" dt="2023-09-24T19:25:01.503" v="2197" actId="2696"/>
        <pc:sldMkLst>
          <pc:docMk/>
          <pc:sldMk cId="120771051" sldId="607"/>
        </pc:sldMkLst>
      </pc:sldChg>
      <pc:sldChg chg="add del">
        <pc:chgData name="Peter Eichenberger" userId="728f4d23-4a61-4401-9315-f0ce5ffabd34" providerId="ADAL" clId="{255E8B6A-517D-40F8-8E40-C3F69FE10DF6}" dt="2023-09-24T21:42:57.195" v="7425" actId="47"/>
        <pc:sldMkLst>
          <pc:docMk/>
          <pc:sldMk cId="1186848445" sldId="607"/>
        </pc:sldMkLst>
      </pc:sldChg>
      <pc:sldChg chg="del">
        <pc:chgData name="Peter Eichenberger" userId="728f4d23-4a61-4401-9315-f0ce5ffabd34" providerId="ADAL" clId="{255E8B6A-517D-40F8-8E40-C3F69FE10DF6}" dt="2023-09-24T19:25:01.503" v="2197" actId="2696"/>
        <pc:sldMkLst>
          <pc:docMk/>
          <pc:sldMk cId="3392386725" sldId="608"/>
        </pc:sldMkLst>
      </pc:sldChg>
      <pc:sldChg chg="add del">
        <pc:chgData name="Peter Eichenberger" userId="728f4d23-4a61-4401-9315-f0ce5ffabd34" providerId="ADAL" clId="{255E8B6A-517D-40F8-8E40-C3F69FE10DF6}" dt="2023-09-24T21:42:57.195" v="7425" actId="47"/>
        <pc:sldMkLst>
          <pc:docMk/>
          <pc:sldMk cId="3645283840" sldId="608"/>
        </pc:sldMkLst>
      </pc:sldChg>
      <pc:sldChg chg="modSp mod">
        <pc:chgData name="Peter Eichenberger" userId="728f4d23-4a61-4401-9315-f0ce5ffabd34" providerId="ADAL" clId="{255E8B6A-517D-40F8-8E40-C3F69FE10DF6}" dt="2023-09-24T20:42:11.298" v="4936" actId="20577"/>
        <pc:sldMkLst>
          <pc:docMk/>
          <pc:sldMk cId="1040899732" sldId="609"/>
        </pc:sldMkLst>
        <pc:spChg chg="mod">
          <ac:chgData name="Peter Eichenberger" userId="728f4d23-4a61-4401-9315-f0ce5ffabd34" providerId="ADAL" clId="{255E8B6A-517D-40F8-8E40-C3F69FE10DF6}" dt="2023-09-24T20:42:11.298" v="4936" actId="20577"/>
          <ac:spMkLst>
            <pc:docMk/>
            <pc:sldMk cId="1040899732" sldId="609"/>
            <ac:spMk id="10" creationId="{00000000-0000-0000-0000-000000000000}"/>
          </ac:spMkLst>
        </pc:spChg>
      </pc:sldChg>
      <pc:sldChg chg="del">
        <pc:chgData name="Peter Eichenberger" userId="728f4d23-4a61-4401-9315-f0ce5ffabd34" providerId="ADAL" clId="{255E8B6A-517D-40F8-8E40-C3F69FE10DF6}" dt="2023-09-24T19:51:49.503" v="3090" actId="2696"/>
        <pc:sldMkLst>
          <pc:docMk/>
          <pc:sldMk cId="114428335" sldId="610"/>
        </pc:sldMkLst>
      </pc:sldChg>
      <pc:sldChg chg="add">
        <pc:chgData name="Peter Eichenberger" userId="728f4d23-4a61-4401-9315-f0ce5ffabd34" providerId="ADAL" clId="{255E8B6A-517D-40F8-8E40-C3F69FE10DF6}" dt="2023-09-24T19:51:53.034" v="3091"/>
        <pc:sldMkLst>
          <pc:docMk/>
          <pc:sldMk cId="3239088102" sldId="610"/>
        </pc:sldMkLst>
      </pc:sldChg>
      <pc:sldChg chg="addSp delSp modSp mod">
        <pc:chgData name="Peter Eichenberger" userId="728f4d23-4a61-4401-9315-f0ce5ffabd34" providerId="ADAL" clId="{255E8B6A-517D-40F8-8E40-C3F69FE10DF6}" dt="2023-09-24T20:37:34.142" v="4730"/>
        <pc:sldMkLst>
          <pc:docMk/>
          <pc:sldMk cId="1326238888" sldId="612"/>
        </pc:sldMkLst>
        <pc:spChg chg="mod">
          <ac:chgData name="Peter Eichenberger" userId="728f4d23-4a61-4401-9315-f0ce5ffabd34" providerId="ADAL" clId="{255E8B6A-517D-40F8-8E40-C3F69FE10DF6}" dt="2023-09-24T18:47:15.142" v="1479" actId="6549"/>
          <ac:spMkLst>
            <pc:docMk/>
            <pc:sldMk cId="1326238888" sldId="612"/>
            <ac:spMk id="6" creationId="{CF6A240A-6497-AEE8-C025-2816685E73A9}"/>
          </ac:spMkLst>
        </pc:spChg>
        <pc:spChg chg="mod">
          <ac:chgData name="Peter Eichenberger" userId="728f4d23-4a61-4401-9315-f0ce5ffabd34" providerId="ADAL" clId="{255E8B6A-517D-40F8-8E40-C3F69FE10DF6}" dt="2023-09-24T20:37:34.142" v="4730"/>
          <ac:spMkLst>
            <pc:docMk/>
            <pc:sldMk cId="1326238888" sldId="612"/>
            <ac:spMk id="7" creationId="{A2354B56-1789-6C07-1B64-67FE5CBEFF14}"/>
          </ac:spMkLst>
        </pc:spChg>
        <pc:spChg chg="add del">
          <ac:chgData name="Peter Eichenberger" userId="728f4d23-4a61-4401-9315-f0ce5ffabd34" providerId="ADAL" clId="{255E8B6A-517D-40F8-8E40-C3F69FE10DF6}" dt="2023-09-24T18:45:09.232" v="1398" actId="22"/>
          <ac:spMkLst>
            <pc:docMk/>
            <pc:sldMk cId="1326238888" sldId="612"/>
            <ac:spMk id="10" creationId="{C347F578-8811-B158-3E39-7964639C8F36}"/>
          </ac:spMkLst>
        </pc:spChg>
        <pc:picChg chg="mod">
          <ac:chgData name="Peter Eichenberger" userId="728f4d23-4a61-4401-9315-f0ce5ffabd34" providerId="ADAL" clId="{255E8B6A-517D-40F8-8E40-C3F69FE10DF6}" dt="2023-09-24T18:47:19.904" v="1480" actId="1076"/>
          <ac:picMkLst>
            <pc:docMk/>
            <pc:sldMk cId="1326238888" sldId="612"/>
            <ac:picMk id="13" creationId="{2F9A6A2F-CBD1-745B-0DE5-6A86D75C1DA4}"/>
          </ac:picMkLst>
        </pc:picChg>
      </pc:sldChg>
      <pc:sldChg chg="modSp mod">
        <pc:chgData name="Peter Eichenberger" userId="728f4d23-4a61-4401-9315-f0ce5ffabd34" providerId="ADAL" clId="{255E8B6A-517D-40F8-8E40-C3F69FE10DF6}" dt="2023-09-24T20:37:38.949" v="4732" actId="20577"/>
        <pc:sldMkLst>
          <pc:docMk/>
          <pc:sldMk cId="1906186252" sldId="613"/>
        </pc:sldMkLst>
        <pc:spChg chg="mod">
          <ac:chgData name="Peter Eichenberger" userId="728f4d23-4a61-4401-9315-f0ce5ffabd34" providerId="ADAL" clId="{255E8B6A-517D-40F8-8E40-C3F69FE10DF6}" dt="2023-09-24T20:37:38.949" v="4732" actId="20577"/>
          <ac:spMkLst>
            <pc:docMk/>
            <pc:sldMk cId="1906186252" sldId="613"/>
            <ac:spMk id="7" creationId="{5D9E9AE6-80F1-1C22-2914-A376CFD893E3}"/>
          </ac:spMkLst>
        </pc:spChg>
      </pc:sldChg>
      <pc:sldChg chg="modSp mod">
        <pc:chgData name="Peter Eichenberger" userId="728f4d23-4a61-4401-9315-f0ce5ffabd34" providerId="ADAL" clId="{255E8B6A-517D-40F8-8E40-C3F69FE10DF6}" dt="2023-09-24T20:37:44.727" v="4736" actId="20577"/>
        <pc:sldMkLst>
          <pc:docMk/>
          <pc:sldMk cId="2186480425" sldId="614"/>
        </pc:sldMkLst>
        <pc:spChg chg="mod">
          <ac:chgData name="Peter Eichenberger" userId="728f4d23-4a61-4401-9315-f0ce5ffabd34" providerId="ADAL" clId="{255E8B6A-517D-40F8-8E40-C3F69FE10DF6}" dt="2023-09-24T20:37:44.727" v="4736" actId="20577"/>
          <ac:spMkLst>
            <pc:docMk/>
            <pc:sldMk cId="2186480425" sldId="614"/>
            <ac:spMk id="7" creationId="{F0384BA3-135D-BB06-F9D6-867356E2E897}"/>
          </ac:spMkLst>
        </pc:spChg>
      </pc:sldChg>
      <pc:sldChg chg="modSp mod">
        <pc:chgData name="Peter Eichenberger" userId="728f4d23-4a61-4401-9315-f0ce5ffabd34" providerId="ADAL" clId="{255E8B6A-517D-40F8-8E40-C3F69FE10DF6}" dt="2023-09-24T21:29:56.490" v="6890" actId="1076"/>
        <pc:sldMkLst>
          <pc:docMk/>
          <pc:sldMk cId="3944145150" sldId="615"/>
        </pc:sldMkLst>
        <pc:spChg chg="mod">
          <ac:chgData name="Peter Eichenberger" userId="728f4d23-4a61-4401-9315-f0ce5ffabd34" providerId="ADAL" clId="{255E8B6A-517D-40F8-8E40-C3F69FE10DF6}" dt="2023-09-24T21:29:50.927" v="6888" actId="20577"/>
          <ac:spMkLst>
            <pc:docMk/>
            <pc:sldMk cId="3944145150" sldId="615"/>
            <ac:spMk id="6" creationId="{8A3A68E0-57C8-6D75-001C-1D111DE1BF26}"/>
          </ac:spMkLst>
        </pc:spChg>
        <pc:spChg chg="mod">
          <ac:chgData name="Peter Eichenberger" userId="728f4d23-4a61-4401-9315-f0ce5ffabd34" providerId="ADAL" clId="{255E8B6A-517D-40F8-8E40-C3F69FE10DF6}" dt="2023-09-24T20:37:47.794" v="4738" actId="20577"/>
          <ac:spMkLst>
            <pc:docMk/>
            <pc:sldMk cId="3944145150" sldId="615"/>
            <ac:spMk id="7" creationId="{86157A59-B28F-5BE2-72FB-E2DEF0084141}"/>
          </ac:spMkLst>
        </pc:spChg>
        <pc:picChg chg="mod">
          <ac:chgData name="Peter Eichenberger" userId="728f4d23-4a61-4401-9315-f0ce5ffabd34" providerId="ADAL" clId="{255E8B6A-517D-40F8-8E40-C3F69FE10DF6}" dt="2023-09-24T21:29:56.490" v="6890" actId="1076"/>
          <ac:picMkLst>
            <pc:docMk/>
            <pc:sldMk cId="3944145150" sldId="615"/>
            <ac:picMk id="19" creationId="{02A28E8B-0AE7-5053-BDF7-AFCF8FFBAF96}"/>
          </ac:picMkLst>
        </pc:picChg>
      </pc:sldChg>
      <pc:sldChg chg="modSp del mod ord">
        <pc:chgData name="Peter Eichenberger" userId="728f4d23-4a61-4401-9315-f0ce5ffabd34" providerId="ADAL" clId="{255E8B6A-517D-40F8-8E40-C3F69FE10DF6}" dt="2023-09-24T19:24:27.248" v="2190" actId="2696"/>
        <pc:sldMkLst>
          <pc:docMk/>
          <pc:sldMk cId="11726877" sldId="616"/>
        </pc:sldMkLst>
        <pc:spChg chg="mod">
          <ac:chgData name="Peter Eichenberger" userId="728f4d23-4a61-4401-9315-f0ce5ffabd34" providerId="ADAL" clId="{255E8B6A-517D-40F8-8E40-C3F69FE10DF6}" dt="2023-09-24T18:34:30.389" v="763" actId="6549"/>
          <ac:spMkLst>
            <pc:docMk/>
            <pc:sldMk cId="11726877" sldId="616"/>
            <ac:spMk id="6" creationId="{CFA3D41A-B160-E0F2-6B34-9EF569CF640C}"/>
          </ac:spMkLst>
        </pc:spChg>
        <pc:picChg chg="mod">
          <ac:chgData name="Peter Eichenberger" userId="728f4d23-4a61-4401-9315-f0ce5ffabd34" providerId="ADAL" clId="{255E8B6A-517D-40F8-8E40-C3F69FE10DF6}" dt="2023-09-24T18:34:35.823" v="766" actId="1076"/>
          <ac:picMkLst>
            <pc:docMk/>
            <pc:sldMk cId="11726877" sldId="616"/>
            <ac:picMk id="8" creationId="{BB5152D8-2440-CA68-B073-5E2C210D8892}"/>
          </ac:picMkLst>
        </pc:picChg>
        <pc:picChg chg="mod">
          <ac:chgData name="Peter Eichenberger" userId="728f4d23-4a61-4401-9315-f0ce5ffabd34" providerId="ADAL" clId="{255E8B6A-517D-40F8-8E40-C3F69FE10DF6}" dt="2023-09-24T18:34:34.871" v="765" actId="1076"/>
          <ac:picMkLst>
            <pc:docMk/>
            <pc:sldMk cId="11726877" sldId="616"/>
            <ac:picMk id="13" creationId="{4157EC39-8EFE-3B23-FCF6-F66DB39DB88F}"/>
          </ac:picMkLst>
        </pc:picChg>
      </pc:sldChg>
      <pc:sldChg chg="add">
        <pc:chgData name="Peter Eichenberger" userId="728f4d23-4a61-4401-9315-f0ce5ffabd34" providerId="ADAL" clId="{255E8B6A-517D-40F8-8E40-C3F69FE10DF6}" dt="2023-09-24T19:24:30.260" v="2191"/>
        <pc:sldMkLst>
          <pc:docMk/>
          <pc:sldMk cId="3218712198" sldId="616"/>
        </pc:sldMkLst>
      </pc:sldChg>
      <pc:sldChg chg="addSp delSp modSp del mod">
        <pc:chgData name="Peter Eichenberger" userId="728f4d23-4a61-4401-9315-f0ce5ffabd34" providerId="ADAL" clId="{255E8B6A-517D-40F8-8E40-C3F69FE10DF6}" dt="2023-09-24T19:24:27.248" v="2190" actId="2696"/>
        <pc:sldMkLst>
          <pc:docMk/>
          <pc:sldMk cId="3357870615" sldId="617"/>
        </pc:sldMkLst>
        <pc:spChg chg="mod">
          <ac:chgData name="Peter Eichenberger" userId="728f4d23-4a61-4401-9315-f0ce5ffabd34" providerId="ADAL" clId="{255E8B6A-517D-40F8-8E40-C3F69FE10DF6}" dt="2023-09-24T18:35:12.283" v="895" actId="948"/>
          <ac:spMkLst>
            <pc:docMk/>
            <pc:sldMk cId="3357870615" sldId="617"/>
            <ac:spMk id="5" creationId="{07C3266B-BB76-4D33-43E4-C6FEEF372B0A}"/>
          </ac:spMkLst>
        </pc:spChg>
        <pc:spChg chg="mod">
          <ac:chgData name="Peter Eichenberger" userId="728f4d23-4a61-4401-9315-f0ce5ffabd34" providerId="ADAL" clId="{255E8B6A-517D-40F8-8E40-C3F69FE10DF6}" dt="2023-09-24T18:40:14.283" v="1365" actId="20577"/>
          <ac:spMkLst>
            <pc:docMk/>
            <pc:sldMk cId="3357870615" sldId="617"/>
            <ac:spMk id="6" creationId="{AAED2793-C2BB-E8A0-4F4D-A5611DE025BB}"/>
          </ac:spMkLst>
        </pc:spChg>
        <pc:spChg chg="add del mod modVis">
          <ac:chgData name="Peter Eichenberger" userId="728f4d23-4a61-4401-9315-f0ce5ffabd34" providerId="ADAL" clId="{255E8B6A-517D-40F8-8E40-C3F69FE10DF6}" dt="2023-09-24T18:34:57.838" v="835"/>
          <ac:spMkLst>
            <pc:docMk/>
            <pc:sldMk cId="3357870615" sldId="617"/>
            <ac:spMk id="9" creationId="{662217CF-434A-66FF-7246-0D227EA64097}"/>
          </ac:spMkLst>
        </pc:spChg>
        <pc:spChg chg="add del mod modVis">
          <ac:chgData name="Peter Eichenberger" userId="728f4d23-4a61-4401-9315-f0ce5ffabd34" providerId="ADAL" clId="{255E8B6A-517D-40F8-8E40-C3F69FE10DF6}" dt="2023-09-24T18:35:09.075" v="875"/>
          <ac:spMkLst>
            <pc:docMk/>
            <pc:sldMk cId="3357870615" sldId="617"/>
            <ac:spMk id="10" creationId="{E3E2CF7E-FEA1-896B-ACFA-607313D958AE}"/>
          </ac:spMkLst>
        </pc:spChg>
        <pc:spChg chg="add del mod modVis">
          <ac:chgData name="Peter Eichenberger" userId="728f4d23-4a61-4401-9315-f0ce5ffabd34" providerId="ADAL" clId="{255E8B6A-517D-40F8-8E40-C3F69FE10DF6}" dt="2023-09-24T18:35:12.297" v="920"/>
          <ac:spMkLst>
            <pc:docMk/>
            <pc:sldMk cId="3357870615" sldId="617"/>
            <ac:spMk id="11" creationId="{283D0914-789B-2510-A483-7A885C5D0CC2}"/>
          </ac:spMkLst>
        </pc:spChg>
        <pc:graphicFrameChg chg="add mod ord modVis replST">
          <ac:chgData name="Peter Eichenberger" userId="728f4d23-4a61-4401-9315-f0ce5ffabd34" providerId="ADAL" clId="{255E8B6A-517D-40F8-8E40-C3F69FE10DF6}" dt="2023-09-24T18:35:12.298" v="922"/>
          <ac:graphicFrameMkLst>
            <pc:docMk/>
            <pc:sldMk cId="3357870615" sldId="617"/>
            <ac:graphicFrameMk id="8" creationId="{63160ABB-979F-6B0E-7A1C-1E8899221C22}"/>
          </ac:graphicFrameMkLst>
        </pc:graphicFrameChg>
        <pc:picChg chg="mod">
          <ac:chgData name="Peter Eichenberger" userId="728f4d23-4a61-4401-9315-f0ce5ffabd34" providerId="ADAL" clId="{255E8B6A-517D-40F8-8E40-C3F69FE10DF6}" dt="2023-09-24T18:39:42.431" v="1332" actId="1076"/>
          <ac:picMkLst>
            <pc:docMk/>
            <pc:sldMk cId="3357870615" sldId="617"/>
            <ac:picMk id="2050" creationId="{CA1F11C5-A8B6-5AF4-D003-B15C3DE00579}"/>
          </ac:picMkLst>
        </pc:picChg>
      </pc:sldChg>
      <pc:sldChg chg="add">
        <pc:chgData name="Peter Eichenberger" userId="728f4d23-4a61-4401-9315-f0ce5ffabd34" providerId="ADAL" clId="{255E8B6A-517D-40F8-8E40-C3F69FE10DF6}" dt="2023-09-24T19:24:30.260" v="2191"/>
        <pc:sldMkLst>
          <pc:docMk/>
          <pc:sldMk cId="4269879353" sldId="617"/>
        </pc:sldMkLst>
      </pc:sldChg>
      <pc:sldChg chg="addSp delSp modSp add mod modNotesTx">
        <pc:chgData name="Peter Eichenberger" userId="728f4d23-4a61-4401-9315-f0ce5ffabd34" providerId="ADAL" clId="{255E8B6A-517D-40F8-8E40-C3F69FE10DF6}" dt="2023-09-24T20:44:26.066" v="5076"/>
        <pc:sldMkLst>
          <pc:docMk/>
          <pc:sldMk cId="1247078968" sldId="618"/>
        </pc:sldMkLst>
        <pc:spChg chg="add del mod modVis">
          <ac:chgData name="Peter Eichenberger" userId="728f4d23-4a61-4401-9315-f0ce5ffabd34" providerId="ADAL" clId="{255E8B6A-517D-40F8-8E40-C3F69FE10DF6}" dt="2023-09-24T20:44:20.442" v="4997"/>
          <ac:spMkLst>
            <pc:docMk/>
            <pc:sldMk cId="1247078968" sldId="618"/>
            <ac:spMk id="5" creationId="{A06D7F90-C53D-DB1B-8B72-46580063CF4E}"/>
          </ac:spMkLst>
        </pc:spChg>
        <pc:spChg chg="add del mod modVis">
          <ac:chgData name="Peter Eichenberger" userId="728f4d23-4a61-4401-9315-f0ce5ffabd34" providerId="ADAL" clId="{255E8B6A-517D-40F8-8E40-C3F69FE10DF6}" dt="2023-09-24T20:44:23.296" v="5036"/>
          <ac:spMkLst>
            <pc:docMk/>
            <pc:sldMk cId="1247078968" sldId="618"/>
            <ac:spMk id="6" creationId="{1ED510C0-A82C-A04C-C7CB-9939D131CB03}"/>
          </ac:spMkLst>
        </pc:spChg>
        <pc:spChg chg="mod">
          <ac:chgData name="Peter Eichenberger" userId="728f4d23-4a61-4401-9315-f0ce5ffabd34" providerId="ADAL" clId="{255E8B6A-517D-40F8-8E40-C3F69FE10DF6}" dt="2023-09-24T20:44:26.051" v="5049" actId="948"/>
          <ac:spMkLst>
            <pc:docMk/>
            <pc:sldMk cId="1247078968" sldId="618"/>
            <ac:spMk id="8" creationId="{00000000-0000-0000-0000-000000000000}"/>
          </ac:spMkLst>
        </pc:spChg>
        <pc:spChg chg="add del mod modVis">
          <ac:chgData name="Peter Eichenberger" userId="728f4d23-4a61-4401-9315-f0ce5ffabd34" providerId="ADAL" clId="{255E8B6A-517D-40F8-8E40-C3F69FE10DF6}" dt="2023-09-24T20:44:26.065" v="5074"/>
          <ac:spMkLst>
            <pc:docMk/>
            <pc:sldMk cId="1247078968" sldId="618"/>
            <ac:spMk id="9" creationId="{8305A03D-17B7-62DF-ACA0-6D57B46DEAF0}"/>
          </ac:spMkLst>
        </pc:spChg>
        <pc:graphicFrameChg chg="mod">
          <ac:chgData name="Peter Eichenberger" userId="728f4d23-4a61-4401-9315-f0ce5ffabd34" providerId="ADAL" clId="{255E8B6A-517D-40F8-8E40-C3F69FE10DF6}" dt="2023-09-24T20:44:26.066" v="5076"/>
          <ac:graphicFrameMkLst>
            <pc:docMk/>
            <pc:sldMk cId="1247078968" sldId="618"/>
            <ac:graphicFrameMk id="7" creationId="{2445B437-43A0-3ED2-8D7A-D7B9B9554D62}"/>
          </ac:graphicFrameMkLst>
        </pc:graphicFrameChg>
        <pc:picChg chg="mod">
          <ac:chgData name="Peter Eichenberger" userId="728f4d23-4a61-4401-9315-f0ce5ffabd34" providerId="ADAL" clId="{255E8B6A-517D-40F8-8E40-C3F69FE10DF6}" dt="2023-09-24T18:42:26.825" v="1380" actId="14826"/>
          <ac:picMkLst>
            <pc:docMk/>
            <pc:sldMk cId="1247078968" sldId="618"/>
            <ac:picMk id="13" creationId="{00000000-0000-0000-0000-000000000000}"/>
          </ac:picMkLst>
        </pc:picChg>
      </pc:sldChg>
      <pc:sldChg chg="addSp delSp modSp new add mod">
        <pc:chgData name="Peter Eichenberger" userId="728f4d23-4a61-4401-9315-f0ce5ffabd34" providerId="ADAL" clId="{255E8B6A-517D-40F8-8E40-C3F69FE10DF6}" dt="2023-09-24T22:12:13.598" v="7995" actId="20577"/>
        <pc:sldMkLst>
          <pc:docMk/>
          <pc:sldMk cId="1870163852" sldId="619"/>
        </pc:sldMkLst>
        <pc:spChg chg="mod">
          <ac:chgData name="Peter Eichenberger" userId="728f4d23-4a61-4401-9315-f0ce5ffabd34" providerId="ADAL" clId="{255E8B6A-517D-40F8-8E40-C3F69FE10DF6}" dt="2023-09-24T21:44:16.004" v="7490" actId="948"/>
          <ac:spMkLst>
            <pc:docMk/>
            <pc:sldMk cId="1870163852" sldId="619"/>
            <ac:spMk id="5" creationId="{8E092AA3-A191-016E-A49F-FA4643496A00}"/>
          </ac:spMkLst>
        </pc:spChg>
        <pc:spChg chg="mod">
          <ac:chgData name="Peter Eichenberger" userId="728f4d23-4a61-4401-9315-f0ce5ffabd34" providerId="ADAL" clId="{255E8B6A-517D-40F8-8E40-C3F69FE10DF6}" dt="2023-09-24T22:12:13.598" v="7995" actId="20577"/>
          <ac:spMkLst>
            <pc:docMk/>
            <pc:sldMk cId="1870163852" sldId="619"/>
            <ac:spMk id="6" creationId="{8689B04F-134B-837A-B55D-20B988553F1B}"/>
          </ac:spMkLst>
        </pc:spChg>
        <pc:spChg chg="mod">
          <ac:chgData name="Peter Eichenberger" userId="728f4d23-4a61-4401-9315-f0ce5ffabd34" providerId="ADAL" clId="{255E8B6A-517D-40F8-8E40-C3F69FE10DF6}" dt="2023-09-24T20:44:34.904" v="5077"/>
          <ac:spMkLst>
            <pc:docMk/>
            <pc:sldMk cId="1870163852" sldId="619"/>
            <ac:spMk id="7" creationId="{6EBE6AD0-6C14-F718-51AD-50D4780A6E0E}"/>
          </ac:spMkLst>
        </pc:spChg>
        <pc:spChg chg="add del mod modVis">
          <ac:chgData name="Peter Eichenberger" userId="728f4d23-4a61-4401-9315-f0ce5ffabd34" providerId="ADAL" clId="{255E8B6A-517D-40F8-8E40-C3F69FE10DF6}" dt="2023-09-24T21:44:12.614" v="7461"/>
          <ac:spMkLst>
            <pc:docMk/>
            <pc:sldMk cId="1870163852" sldId="619"/>
            <ac:spMk id="8" creationId="{ED8868D7-13CF-A6B5-3659-D320C0F740F2}"/>
          </ac:spMkLst>
        </pc:spChg>
        <pc:spChg chg="add del mod modVis">
          <ac:chgData name="Peter Eichenberger" userId="728f4d23-4a61-4401-9315-f0ce5ffabd34" providerId="ADAL" clId="{255E8B6A-517D-40F8-8E40-C3F69FE10DF6}" dt="2023-09-24T21:44:16.017" v="7515"/>
          <ac:spMkLst>
            <pc:docMk/>
            <pc:sldMk cId="1870163852" sldId="619"/>
            <ac:spMk id="10" creationId="{8A8A6EB6-4C91-B28B-B0D7-7C5EFA0B49AD}"/>
          </ac:spMkLst>
        </pc:spChg>
        <pc:graphicFrameChg chg="add mod ord modVis replST">
          <ac:chgData name="Peter Eichenberger" userId="728f4d23-4a61-4401-9315-f0ce5ffabd34" providerId="ADAL" clId="{255E8B6A-517D-40F8-8E40-C3F69FE10DF6}" dt="2023-09-24T21:44:16.019" v="7517"/>
          <ac:graphicFrameMkLst>
            <pc:docMk/>
            <pc:sldMk cId="1870163852" sldId="619"/>
            <ac:graphicFrameMk id="9" creationId="{CA2AA2DE-431F-5C9B-FFD4-626174E9EDDB}"/>
          </ac:graphicFrameMkLst>
        </pc:graphicFrameChg>
      </pc:sldChg>
      <pc:sldChg chg="addSp delSp modSp add mod">
        <pc:chgData name="Peter Eichenberger" userId="728f4d23-4a61-4401-9315-f0ce5ffabd34" providerId="ADAL" clId="{255E8B6A-517D-40F8-8E40-C3F69FE10DF6}" dt="2023-09-24T19:44:08.800" v="2508" actId="14100"/>
        <pc:sldMkLst>
          <pc:docMk/>
          <pc:sldMk cId="1546906275" sldId="620"/>
        </pc:sldMkLst>
        <pc:spChg chg="mod ord">
          <ac:chgData name="Peter Eichenberger" userId="728f4d23-4a61-4401-9315-f0ce5ffabd34" providerId="ADAL" clId="{255E8B6A-517D-40F8-8E40-C3F69FE10DF6}" dt="2023-09-24T19:42:53.177" v="2475"/>
          <ac:spMkLst>
            <pc:docMk/>
            <pc:sldMk cId="1546906275" sldId="620"/>
            <ac:spMk id="2" creationId="{ACF8A616-86DA-120B-B3F0-689F0610EAE5}"/>
          </ac:spMkLst>
        </pc:spChg>
        <pc:spChg chg="mod ord">
          <ac:chgData name="Peter Eichenberger" userId="728f4d23-4a61-4401-9315-f0ce5ffabd34" providerId="ADAL" clId="{255E8B6A-517D-40F8-8E40-C3F69FE10DF6}" dt="2023-09-24T19:42:53.178" v="2477"/>
          <ac:spMkLst>
            <pc:docMk/>
            <pc:sldMk cId="1546906275" sldId="620"/>
            <ac:spMk id="3" creationId="{A8702C32-851B-6867-12AA-7682F447E6F7}"/>
          </ac:spMkLst>
        </pc:spChg>
        <pc:spChg chg="mod ord">
          <ac:chgData name="Peter Eichenberger" userId="728f4d23-4a61-4401-9315-f0ce5ffabd34" providerId="ADAL" clId="{255E8B6A-517D-40F8-8E40-C3F69FE10DF6}" dt="2023-09-24T19:42:53.178" v="2479"/>
          <ac:spMkLst>
            <pc:docMk/>
            <pc:sldMk cId="1546906275" sldId="620"/>
            <ac:spMk id="4" creationId="{946E6F04-6B2F-D5EF-72D2-59C38B075894}"/>
          </ac:spMkLst>
        </pc:spChg>
        <pc:spChg chg="mod ord">
          <ac:chgData name="Peter Eichenberger" userId="728f4d23-4a61-4401-9315-f0ce5ffabd34" providerId="ADAL" clId="{255E8B6A-517D-40F8-8E40-C3F69FE10DF6}" dt="2023-09-24T19:42:53.178" v="2481"/>
          <ac:spMkLst>
            <pc:docMk/>
            <pc:sldMk cId="1546906275" sldId="620"/>
            <ac:spMk id="5" creationId="{F0A65CD9-C530-9AFB-3BEA-4265C3FFE884}"/>
          </ac:spMkLst>
        </pc:spChg>
        <pc:spChg chg="mod ord">
          <ac:chgData name="Peter Eichenberger" userId="728f4d23-4a61-4401-9315-f0ce5ffabd34" providerId="ADAL" clId="{255E8B6A-517D-40F8-8E40-C3F69FE10DF6}" dt="2023-09-24T19:44:08.800" v="2508" actId="14100"/>
          <ac:spMkLst>
            <pc:docMk/>
            <pc:sldMk cId="1546906275" sldId="620"/>
            <ac:spMk id="6" creationId="{CFA3D41A-B160-E0F2-6B34-9EF569CF640C}"/>
          </ac:spMkLst>
        </pc:spChg>
        <pc:spChg chg="mod ord">
          <ac:chgData name="Peter Eichenberger" userId="728f4d23-4a61-4401-9315-f0ce5ffabd34" providerId="ADAL" clId="{255E8B6A-517D-40F8-8E40-C3F69FE10DF6}" dt="2023-09-24T19:42:53.179" v="2485"/>
          <ac:spMkLst>
            <pc:docMk/>
            <pc:sldMk cId="1546906275" sldId="620"/>
            <ac:spMk id="7" creationId="{C24957C1-DC13-1B3B-88E6-B641F6F6EA4E}"/>
          </ac:spMkLst>
        </pc:spChg>
        <pc:spChg chg="add del mod modVis">
          <ac:chgData name="Peter Eichenberger" userId="728f4d23-4a61-4401-9315-f0ce5ffabd34" providerId="ADAL" clId="{255E8B6A-517D-40F8-8E40-C3F69FE10DF6}" dt="2023-09-24T19:42:53.180" v="2489"/>
          <ac:spMkLst>
            <pc:docMk/>
            <pc:sldMk cId="1546906275" sldId="620"/>
            <ac:spMk id="8" creationId="{98AC1C3B-6572-272B-AEEA-40D67CDDA895}"/>
          </ac:spMkLst>
        </pc:spChg>
        <pc:graphicFrameChg chg="mod">
          <ac:chgData name="Peter Eichenberger" userId="728f4d23-4a61-4401-9315-f0ce5ffabd34" providerId="ADAL" clId="{255E8B6A-517D-40F8-8E40-C3F69FE10DF6}" dt="2023-09-24T19:42:53.182" v="2491"/>
          <ac:graphicFrameMkLst>
            <pc:docMk/>
            <pc:sldMk cId="1546906275" sldId="620"/>
            <ac:graphicFrameMk id="9" creationId="{79E9C736-B4FA-FA18-6AC5-4A830E301591}"/>
          </ac:graphicFrameMkLst>
        </pc:graphicFrameChg>
        <pc:picChg chg="del">
          <ac:chgData name="Peter Eichenberger" userId="728f4d23-4a61-4401-9315-f0ce5ffabd34" providerId="ADAL" clId="{255E8B6A-517D-40F8-8E40-C3F69FE10DF6}" dt="2023-09-24T19:41:16.358" v="2412" actId="478"/>
          <ac:picMkLst>
            <pc:docMk/>
            <pc:sldMk cId="1546906275" sldId="620"/>
            <ac:picMk id="1026" creationId="{F9BC6BBD-B23C-220D-E943-5C4142879AF0}"/>
          </ac:picMkLst>
        </pc:picChg>
        <pc:picChg chg="mod">
          <ac:chgData name="Peter Eichenberger" userId="728f4d23-4a61-4401-9315-f0ce5ffabd34" providerId="ADAL" clId="{255E8B6A-517D-40F8-8E40-C3F69FE10DF6}" dt="2023-09-24T19:43:56.985" v="2506" actId="14100"/>
          <ac:picMkLst>
            <pc:docMk/>
            <pc:sldMk cId="1546906275" sldId="620"/>
            <ac:picMk id="2050" creationId="{F0A2B7D1-4595-0814-3731-7223C72AFF4B}"/>
          </ac:picMkLst>
        </pc:picChg>
      </pc:sldChg>
      <pc:sldChg chg="new add del">
        <pc:chgData name="Peter Eichenberger" userId="728f4d23-4a61-4401-9315-f0ce5ffabd34" providerId="ADAL" clId="{255E8B6A-517D-40F8-8E40-C3F69FE10DF6}" dt="2023-09-24T18:43:37.691" v="1395" actId="47"/>
        <pc:sldMkLst>
          <pc:docMk/>
          <pc:sldMk cId="1868943582" sldId="620"/>
        </pc:sldMkLst>
      </pc:sldChg>
      <pc:sldChg chg="addSp delSp modSp new add mod">
        <pc:chgData name="Peter Eichenberger" userId="728f4d23-4a61-4401-9315-f0ce5ffabd34" providerId="ADAL" clId="{255E8B6A-517D-40F8-8E40-C3F69FE10DF6}" dt="2023-09-24T20:34:01.016" v="4698"/>
        <pc:sldMkLst>
          <pc:docMk/>
          <pc:sldMk cId="202605878" sldId="621"/>
        </pc:sldMkLst>
        <pc:spChg chg="mod">
          <ac:chgData name="Peter Eichenberger" userId="728f4d23-4a61-4401-9315-f0ce5ffabd34" providerId="ADAL" clId="{255E8B6A-517D-40F8-8E40-C3F69FE10DF6}" dt="2023-09-24T20:01:06.870" v="3488" actId="948"/>
          <ac:spMkLst>
            <pc:docMk/>
            <pc:sldMk cId="202605878" sldId="621"/>
            <ac:spMk id="5" creationId="{D881A357-E6B9-79A9-B00D-6C72D5BB8BF5}"/>
          </ac:spMkLst>
        </pc:spChg>
        <pc:spChg chg="mod">
          <ac:chgData name="Peter Eichenberger" userId="728f4d23-4a61-4401-9315-f0ce5ffabd34" providerId="ADAL" clId="{255E8B6A-517D-40F8-8E40-C3F69FE10DF6}" dt="2023-09-24T20:00:50.055" v="3413" actId="6549"/>
          <ac:spMkLst>
            <pc:docMk/>
            <pc:sldMk cId="202605878" sldId="621"/>
            <ac:spMk id="6" creationId="{8A4F9475-F0AA-7381-BCB5-09E6A8CC2507}"/>
          </ac:spMkLst>
        </pc:spChg>
        <pc:spChg chg="mod">
          <ac:chgData name="Peter Eichenberger" userId="728f4d23-4a61-4401-9315-f0ce5ffabd34" providerId="ADAL" clId="{255E8B6A-517D-40F8-8E40-C3F69FE10DF6}" dt="2023-09-24T20:34:01.016" v="4698"/>
          <ac:spMkLst>
            <pc:docMk/>
            <pc:sldMk cId="202605878" sldId="621"/>
            <ac:spMk id="7" creationId="{FEEE2129-2BB4-335B-6D2A-20009F83CFBE}"/>
          </ac:spMkLst>
        </pc:spChg>
        <pc:spChg chg="add del mod modVis">
          <ac:chgData name="Peter Eichenberger" userId="728f4d23-4a61-4401-9315-f0ce5ffabd34" providerId="ADAL" clId="{255E8B6A-517D-40F8-8E40-C3F69FE10DF6}" dt="2023-09-24T20:01:05.209" v="3484"/>
          <ac:spMkLst>
            <pc:docMk/>
            <pc:sldMk cId="202605878" sldId="621"/>
            <ac:spMk id="9" creationId="{63F035E4-D2BD-3541-32B4-FBF4CE2112F7}"/>
          </ac:spMkLst>
        </pc:spChg>
        <pc:spChg chg="add del mod modVis">
          <ac:chgData name="Peter Eichenberger" userId="728f4d23-4a61-4401-9315-f0ce5ffabd34" providerId="ADAL" clId="{255E8B6A-517D-40F8-8E40-C3F69FE10DF6}" dt="2023-09-24T20:01:06.884" v="3513"/>
          <ac:spMkLst>
            <pc:docMk/>
            <pc:sldMk cId="202605878" sldId="621"/>
            <ac:spMk id="10" creationId="{7282437F-7BFE-39FC-ECBF-C4EBC5D796D3}"/>
          </ac:spMkLst>
        </pc:spChg>
        <pc:graphicFrameChg chg="add mod ord modVis replST">
          <ac:chgData name="Peter Eichenberger" userId="728f4d23-4a61-4401-9315-f0ce5ffabd34" providerId="ADAL" clId="{255E8B6A-517D-40F8-8E40-C3F69FE10DF6}" dt="2023-09-24T20:01:06.885" v="3515"/>
          <ac:graphicFrameMkLst>
            <pc:docMk/>
            <pc:sldMk cId="202605878" sldId="621"/>
            <ac:graphicFrameMk id="8" creationId="{D028DFA4-5CAD-306B-F22E-3BABC34C04FC}"/>
          </ac:graphicFrameMkLst>
        </pc:graphicFrameChg>
      </pc:sldChg>
      <pc:sldChg chg="addSp delSp modSp add mod">
        <pc:chgData name="Peter Eichenberger" userId="728f4d23-4a61-4401-9315-f0ce5ffabd34" providerId="ADAL" clId="{255E8B6A-517D-40F8-8E40-C3F69FE10DF6}" dt="2023-09-24T20:34:07.639" v="4700"/>
        <pc:sldMkLst>
          <pc:docMk/>
          <pc:sldMk cId="807284808" sldId="622"/>
        </pc:sldMkLst>
        <pc:spChg chg="mod ord">
          <ac:chgData name="Peter Eichenberger" userId="728f4d23-4a61-4401-9315-f0ce5ffabd34" providerId="ADAL" clId="{255E8B6A-517D-40F8-8E40-C3F69FE10DF6}" dt="2023-09-24T20:33:40.212" v="4679"/>
          <ac:spMkLst>
            <pc:docMk/>
            <pc:sldMk cId="807284808" sldId="622"/>
            <ac:spMk id="2" creationId="{FA7AAFC1-9717-183D-3D22-AC72D666C383}"/>
          </ac:spMkLst>
        </pc:spChg>
        <pc:spChg chg="mod ord">
          <ac:chgData name="Peter Eichenberger" userId="728f4d23-4a61-4401-9315-f0ce5ffabd34" providerId="ADAL" clId="{255E8B6A-517D-40F8-8E40-C3F69FE10DF6}" dt="2023-09-24T20:33:40.212" v="4681"/>
          <ac:spMkLst>
            <pc:docMk/>
            <pc:sldMk cId="807284808" sldId="622"/>
            <ac:spMk id="3" creationId="{F4E27699-7395-CF13-A09E-7BDDA5E093BB}"/>
          </ac:spMkLst>
        </pc:spChg>
        <pc:spChg chg="mod ord">
          <ac:chgData name="Peter Eichenberger" userId="728f4d23-4a61-4401-9315-f0ce5ffabd34" providerId="ADAL" clId="{255E8B6A-517D-40F8-8E40-C3F69FE10DF6}" dt="2023-09-24T20:33:40.213" v="4683"/>
          <ac:spMkLst>
            <pc:docMk/>
            <pc:sldMk cId="807284808" sldId="622"/>
            <ac:spMk id="4" creationId="{8A36DCE0-FCE2-F99E-18BB-6732A089EB4A}"/>
          </ac:spMkLst>
        </pc:spChg>
        <pc:spChg chg="mod ord">
          <ac:chgData name="Peter Eichenberger" userId="728f4d23-4a61-4401-9315-f0ce5ffabd34" providerId="ADAL" clId="{255E8B6A-517D-40F8-8E40-C3F69FE10DF6}" dt="2023-09-24T20:33:40.213" v="4685"/>
          <ac:spMkLst>
            <pc:docMk/>
            <pc:sldMk cId="807284808" sldId="622"/>
            <ac:spMk id="5" creationId="{BD8BB989-D523-5C7C-DB91-D7B452564D65}"/>
          </ac:spMkLst>
        </pc:spChg>
        <pc:spChg chg="mod ord">
          <ac:chgData name="Peter Eichenberger" userId="728f4d23-4a61-4401-9315-f0ce5ffabd34" providerId="ADAL" clId="{255E8B6A-517D-40F8-8E40-C3F69FE10DF6}" dt="2023-09-24T20:33:40.213" v="4687"/>
          <ac:spMkLst>
            <pc:docMk/>
            <pc:sldMk cId="807284808" sldId="622"/>
            <ac:spMk id="6" creationId="{DA39E1C6-DBF2-1069-35CE-8968DA88A1F8}"/>
          </ac:spMkLst>
        </pc:spChg>
        <pc:spChg chg="mod ord">
          <ac:chgData name="Peter Eichenberger" userId="728f4d23-4a61-4401-9315-f0ce5ffabd34" providerId="ADAL" clId="{255E8B6A-517D-40F8-8E40-C3F69FE10DF6}" dt="2023-09-24T20:34:07.639" v="4700"/>
          <ac:spMkLst>
            <pc:docMk/>
            <pc:sldMk cId="807284808" sldId="622"/>
            <ac:spMk id="7" creationId="{C81390D3-21F0-DE83-5CAD-9BCC68E3C7CA}"/>
          </ac:spMkLst>
        </pc:spChg>
        <pc:spChg chg="add del mod modVis">
          <ac:chgData name="Peter Eichenberger" userId="728f4d23-4a61-4401-9315-f0ce5ffabd34" providerId="ADAL" clId="{255E8B6A-517D-40F8-8E40-C3F69FE10DF6}" dt="2023-09-24T20:20:43.781" v="4383"/>
          <ac:spMkLst>
            <pc:docMk/>
            <pc:sldMk cId="807284808" sldId="622"/>
            <ac:spMk id="9" creationId="{971E2C84-63FC-961E-9FF9-48DDEA7DDA4E}"/>
          </ac:spMkLst>
        </pc:spChg>
        <pc:spChg chg="add mod ord">
          <ac:chgData name="Peter Eichenberger" userId="728f4d23-4a61-4401-9315-f0ce5ffabd34" providerId="ADAL" clId="{255E8B6A-517D-40F8-8E40-C3F69FE10DF6}" dt="2023-09-24T20:33:40.214" v="4691"/>
          <ac:spMkLst>
            <pc:docMk/>
            <pc:sldMk cId="807284808" sldId="622"/>
            <ac:spMk id="10" creationId="{3640C88A-F026-A7D8-4A3D-1D16E5F78AE6}"/>
          </ac:spMkLst>
        </pc:spChg>
        <pc:graphicFrameChg chg="mod">
          <ac:chgData name="Peter Eichenberger" userId="728f4d23-4a61-4401-9315-f0ce5ffabd34" providerId="ADAL" clId="{255E8B6A-517D-40F8-8E40-C3F69FE10DF6}" dt="2023-09-24T20:33:40.217" v="4696"/>
          <ac:graphicFrameMkLst>
            <pc:docMk/>
            <pc:sldMk cId="807284808" sldId="622"/>
            <ac:graphicFrameMk id="8" creationId="{C2B38055-B2DA-67CD-A590-FAB1C9E1DBB4}"/>
          </ac:graphicFrameMkLst>
        </pc:graphicFrameChg>
        <pc:picChg chg="add mod">
          <ac:chgData name="Peter Eichenberger" userId="728f4d23-4a61-4401-9315-f0ce5ffabd34" providerId="ADAL" clId="{255E8B6A-517D-40F8-8E40-C3F69FE10DF6}" dt="2023-09-24T20:33:44.449" v="4697" actId="14100"/>
          <ac:picMkLst>
            <pc:docMk/>
            <pc:sldMk cId="807284808" sldId="622"/>
            <ac:picMk id="6146" creationId="{A4E5366D-F3C2-3E9A-F5B5-415836B4B07E}"/>
          </ac:picMkLst>
        </pc:picChg>
      </pc:sldChg>
      <pc:sldChg chg="addSp delSp modSp new add del mod ord">
        <pc:chgData name="Peter Eichenberger" userId="728f4d23-4a61-4401-9315-f0ce5ffabd34" providerId="ADAL" clId="{255E8B6A-517D-40F8-8E40-C3F69FE10DF6}" dt="2023-09-24T21:39:22.380" v="7078" actId="47"/>
        <pc:sldMkLst>
          <pc:docMk/>
          <pc:sldMk cId="999973422" sldId="623"/>
        </pc:sldMkLst>
        <pc:spChg chg="mod">
          <ac:chgData name="Peter Eichenberger" userId="728f4d23-4a61-4401-9315-f0ce5ffabd34" providerId="ADAL" clId="{255E8B6A-517D-40F8-8E40-C3F69FE10DF6}" dt="2023-09-24T20:39:27.950" v="4869" actId="948"/>
          <ac:spMkLst>
            <pc:docMk/>
            <pc:sldMk cId="999973422" sldId="623"/>
            <ac:spMk id="5" creationId="{AC33B60B-3DF9-1A06-4E3C-5B08437EC32F}"/>
          </ac:spMkLst>
        </pc:spChg>
        <pc:spChg chg="mod">
          <ac:chgData name="Peter Eichenberger" userId="728f4d23-4a61-4401-9315-f0ce5ffabd34" providerId="ADAL" clId="{255E8B6A-517D-40F8-8E40-C3F69FE10DF6}" dt="2023-09-24T20:39:33.485" v="4904" actId="20577"/>
          <ac:spMkLst>
            <pc:docMk/>
            <pc:sldMk cId="999973422" sldId="623"/>
            <ac:spMk id="6" creationId="{264986AB-9B2E-7406-432C-C8FADA1C073E}"/>
          </ac:spMkLst>
        </pc:spChg>
        <pc:spChg chg="mod">
          <ac:chgData name="Peter Eichenberger" userId="728f4d23-4a61-4401-9315-f0ce5ffabd34" providerId="ADAL" clId="{255E8B6A-517D-40F8-8E40-C3F69FE10DF6}" dt="2023-09-24T20:44:39.846" v="5079" actId="20577"/>
          <ac:spMkLst>
            <pc:docMk/>
            <pc:sldMk cId="999973422" sldId="623"/>
            <ac:spMk id="7" creationId="{D7D11296-F439-81D3-861D-786C240C7538}"/>
          </ac:spMkLst>
        </pc:spChg>
        <pc:spChg chg="add del mod modVis">
          <ac:chgData name="Peter Eichenberger" userId="728f4d23-4a61-4401-9315-f0ce5ffabd34" providerId="ADAL" clId="{255E8B6A-517D-40F8-8E40-C3F69FE10DF6}" dt="2023-09-24T20:39:22.433" v="4783"/>
          <ac:spMkLst>
            <pc:docMk/>
            <pc:sldMk cId="999973422" sldId="623"/>
            <ac:spMk id="8" creationId="{E9DFFAFB-6682-696D-A469-284580DC6846}"/>
          </ac:spMkLst>
        </pc:spChg>
        <pc:spChg chg="add del mod modVis">
          <ac:chgData name="Peter Eichenberger" userId="728f4d23-4a61-4401-9315-f0ce5ffabd34" providerId="ADAL" clId="{255E8B6A-517D-40F8-8E40-C3F69FE10DF6}" dt="2023-09-24T20:39:25.991" v="4833"/>
          <ac:spMkLst>
            <pc:docMk/>
            <pc:sldMk cId="999973422" sldId="623"/>
            <ac:spMk id="10" creationId="{B006D17D-AB68-7366-0777-8822658017CD}"/>
          </ac:spMkLst>
        </pc:spChg>
        <pc:spChg chg="add del mod modVis">
          <ac:chgData name="Peter Eichenberger" userId="728f4d23-4a61-4401-9315-f0ce5ffabd34" providerId="ADAL" clId="{255E8B6A-517D-40F8-8E40-C3F69FE10DF6}" dt="2023-09-24T20:39:27.212" v="4865"/>
          <ac:spMkLst>
            <pc:docMk/>
            <pc:sldMk cId="999973422" sldId="623"/>
            <ac:spMk id="11" creationId="{8CECCB42-FEB0-81FD-B281-5DFD415DE6B5}"/>
          </ac:spMkLst>
        </pc:spChg>
        <pc:spChg chg="add del mod modVis">
          <ac:chgData name="Peter Eichenberger" userId="728f4d23-4a61-4401-9315-f0ce5ffabd34" providerId="ADAL" clId="{255E8B6A-517D-40F8-8E40-C3F69FE10DF6}" dt="2023-09-24T20:39:27.963" v="4894"/>
          <ac:spMkLst>
            <pc:docMk/>
            <pc:sldMk cId="999973422" sldId="623"/>
            <ac:spMk id="12" creationId="{91CCA7F7-39B9-D383-C82A-7DAE5877640E}"/>
          </ac:spMkLst>
        </pc:spChg>
        <pc:graphicFrameChg chg="add mod ord modVis replST">
          <ac:chgData name="Peter Eichenberger" userId="728f4d23-4a61-4401-9315-f0ce5ffabd34" providerId="ADAL" clId="{255E8B6A-517D-40F8-8E40-C3F69FE10DF6}" dt="2023-09-24T20:39:27.965" v="4896"/>
          <ac:graphicFrameMkLst>
            <pc:docMk/>
            <pc:sldMk cId="999973422" sldId="623"/>
            <ac:graphicFrameMk id="9" creationId="{71CFB2D6-95B5-8E93-630C-58B2F6A43A39}"/>
          </ac:graphicFrameMkLst>
        </pc:graphicFrameChg>
      </pc:sldChg>
      <pc:sldChg chg="addSp delSp modSp new add mod">
        <pc:chgData name="Peter Eichenberger" userId="728f4d23-4a61-4401-9315-f0ce5ffabd34" providerId="ADAL" clId="{255E8B6A-517D-40F8-8E40-C3F69FE10DF6}" dt="2023-09-24T20:46:51.408" v="5157"/>
        <pc:sldMkLst>
          <pc:docMk/>
          <pc:sldMk cId="2625057571" sldId="624"/>
        </pc:sldMkLst>
        <pc:spChg chg="mod">
          <ac:chgData name="Peter Eichenberger" userId="728f4d23-4a61-4401-9315-f0ce5ffabd34" providerId="ADAL" clId="{255E8B6A-517D-40F8-8E40-C3F69FE10DF6}" dt="2023-09-24T20:46:51.393" v="5130" actId="948"/>
          <ac:spMkLst>
            <pc:docMk/>
            <pc:sldMk cId="2625057571" sldId="624"/>
            <ac:spMk id="5" creationId="{B19B1732-12EA-FBBD-E97D-D6F6348D3B0E}"/>
          </ac:spMkLst>
        </pc:spChg>
        <pc:spChg chg="mod">
          <ac:chgData name="Peter Eichenberger" userId="728f4d23-4a61-4401-9315-f0ce5ffabd34" providerId="ADAL" clId="{255E8B6A-517D-40F8-8E40-C3F69FE10DF6}" dt="2023-09-24T20:46:47.891" v="5128" actId="27636"/>
          <ac:spMkLst>
            <pc:docMk/>
            <pc:sldMk cId="2625057571" sldId="624"/>
            <ac:spMk id="7" creationId="{5FA5B382-E335-F6F6-DA20-DA7046B2465C}"/>
          </ac:spMkLst>
        </pc:spChg>
        <pc:spChg chg="add del mod modVis">
          <ac:chgData name="Peter Eichenberger" userId="728f4d23-4a61-4401-9315-f0ce5ffabd34" providerId="ADAL" clId="{255E8B6A-517D-40F8-8E40-C3F69FE10DF6}" dt="2023-09-24T20:46:47.840" v="5112"/>
          <ac:spMkLst>
            <pc:docMk/>
            <pc:sldMk cId="2625057571" sldId="624"/>
            <ac:spMk id="8" creationId="{8234914C-9C76-3C35-868B-3B2925E1CEF0}"/>
          </ac:spMkLst>
        </pc:spChg>
        <pc:spChg chg="add del mod modVis">
          <ac:chgData name="Peter Eichenberger" userId="728f4d23-4a61-4401-9315-f0ce5ffabd34" providerId="ADAL" clId="{255E8B6A-517D-40F8-8E40-C3F69FE10DF6}" dt="2023-09-24T20:46:51.406" v="5155"/>
          <ac:spMkLst>
            <pc:docMk/>
            <pc:sldMk cId="2625057571" sldId="624"/>
            <ac:spMk id="10" creationId="{D491680B-F7B8-D930-0AD0-AB9C2A17BADD}"/>
          </ac:spMkLst>
        </pc:spChg>
        <pc:graphicFrameChg chg="add mod ord modVis replST">
          <ac:chgData name="Peter Eichenberger" userId="728f4d23-4a61-4401-9315-f0ce5ffabd34" providerId="ADAL" clId="{255E8B6A-517D-40F8-8E40-C3F69FE10DF6}" dt="2023-09-24T20:46:51.408" v="5157"/>
          <ac:graphicFrameMkLst>
            <pc:docMk/>
            <pc:sldMk cId="2625057571" sldId="624"/>
            <ac:graphicFrameMk id="9" creationId="{0D570196-2F4A-7DD4-AEF0-95E985AE1D71}"/>
          </ac:graphicFrameMkLst>
        </pc:graphicFrameChg>
      </pc:sldChg>
      <pc:sldChg chg="addSp delSp modSp new add mod ord">
        <pc:chgData name="Peter Eichenberger" userId="728f4d23-4a61-4401-9315-f0ce5ffabd34" providerId="ADAL" clId="{255E8B6A-517D-40F8-8E40-C3F69FE10DF6}" dt="2023-09-24T21:43:59.437" v="7429" actId="1076"/>
        <pc:sldMkLst>
          <pc:docMk/>
          <pc:sldMk cId="505535374" sldId="625"/>
        </pc:sldMkLst>
        <pc:spChg chg="mod">
          <ac:chgData name="Peter Eichenberger" userId="728f4d23-4a61-4401-9315-f0ce5ffabd34" providerId="ADAL" clId="{255E8B6A-517D-40F8-8E40-C3F69FE10DF6}" dt="2023-09-24T21:35:44.243" v="6906" actId="948"/>
          <ac:spMkLst>
            <pc:docMk/>
            <pc:sldMk cId="505535374" sldId="625"/>
            <ac:spMk id="5" creationId="{F4AE26AF-182C-7001-B2D2-42A1D749EE53}"/>
          </ac:spMkLst>
        </pc:spChg>
        <pc:spChg chg="mod">
          <ac:chgData name="Peter Eichenberger" userId="728f4d23-4a61-4401-9315-f0ce5ffabd34" providerId="ADAL" clId="{255E8B6A-517D-40F8-8E40-C3F69FE10DF6}" dt="2023-09-24T21:36:14.360" v="6951" actId="20577"/>
          <ac:spMkLst>
            <pc:docMk/>
            <pc:sldMk cId="505535374" sldId="625"/>
            <ac:spMk id="6" creationId="{5650027B-643D-5C64-D285-B83CB8A4EEC2}"/>
          </ac:spMkLst>
        </pc:spChg>
        <pc:spChg chg="mod">
          <ac:chgData name="Peter Eichenberger" userId="728f4d23-4a61-4401-9315-f0ce5ffabd34" providerId="ADAL" clId="{255E8B6A-517D-40F8-8E40-C3F69FE10DF6}" dt="2023-09-24T21:35:52.449" v="6948" actId="20577"/>
          <ac:spMkLst>
            <pc:docMk/>
            <pc:sldMk cId="505535374" sldId="625"/>
            <ac:spMk id="7" creationId="{2CE48212-9471-7325-4A14-8E8F5F468160}"/>
          </ac:spMkLst>
        </pc:spChg>
        <pc:spChg chg="add del mod modVis">
          <ac:chgData name="Peter Eichenberger" userId="728f4d23-4a61-4401-9315-f0ce5ffabd34" providerId="ADAL" clId="{255E8B6A-517D-40F8-8E40-C3F69FE10DF6}" dt="2023-09-24T21:35:44.256" v="6931"/>
          <ac:spMkLst>
            <pc:docMk/>
            <pc:sldMk cId="505535374" sldId="625"/>
            <ac:spMk id="8" creationId="{39772F01-5CB3-1868-4F31-8987136FAE62}"/>
          </ac:spMkLst>
        </pc:spChg>
        <pc:spChg chg="add mod">
          <ac:chgData name="Peter Eichenberger" userId="728f4d23-4a61-4401-9315-f0ce5ffabd34" providerId="ADAL" clId="{255E8B6A-517D-40F8-8E40-C3F69FE10DF6}" dt="2023-09-24T21:43:59.437" v="7429" actId="1076"/>
          <ac:spMkLst>
            <pc:docMk/>
            <pc:sldMk cId="505535374" sldId="625"/>
            <ac:spMk id="11" creationId="{1D484D98-4268-E2C2-223E-32471A3A90D2}"/>
          </ac:spMkLst>
        </pc:spChg>
        <pc:spChg chg="add del mod">
          <ac:chgData name="Peter Eichenberger" userId="728f4d23-4a61-4401-9315-f0ce5ffabd34" providerId="ADAL" clId="{255E8B6A-517D-40F8-8E40-C3F69FE10DF6}" dt="2023-09-24T21:43:32.900" v="7426" actId="478"/>
          <ac:spMkLst>
            <pc:docMk/>
            <pc:sldMk cId="505535374" sldId="625"/>
            <ac:spMk id="13" creationId="{DDA81DEE-8533-8FD0-C270-9AB03F833E30}"/>
          </ac:spMkLst>
        </pc:spChg>
        <pc:graphicFrameChg chg="add mod ord modVis replST">
          <ac:chgData name="Peter Eichenberger" userId="728f4d23-4a61-4401-9315-f0ce5ffabd34" providerId="ADAL" clId="{255E8B6A-517D-40F8-8E40-C3F69FE10DF6}" dt="2023-09-24T21:35:44.284" v="6946"/>
          <ac:graphicFrameMkLst>
            <pc:docMk/>
            <pc:sldMk cId="505535374" sldId="625"/>
            <ac:graphicFrameMk id="9" creationId="{E933437D-376F-E17F-CD7C-D13313FD3645}"/>
          </ac:graphicFrameMkLst>
        </pc:graphicFrameChg>
        <pc:picChg chg="add mod">
          <ac:chgData name="Peter Eichenberger" userId="728f4d23-4a61-4401-9315-f0ce5ffabd34" providerId="ADAL" clId="{255E8B6A-517D-40F8-8E40-C3F69FE10DF6}" dt="2023-09-24T21:36:54.470" v="6952" actId="1076"/>
          <ac:picMkLst>
            <pc:docMk/>
            <pc:sldMk cId="505535374" sldId="625"/>
            <ac:picMk id="10" creationId="{17F72570-A70A-4CE8-1AC0-C5D2265AB622}"/>
          </ac:picMkLst>
        </pc:picChg>
      </pc:sldChg>
      <pc:sldChg chg="addSp delSp modSp add del mod ord">
        <pc:chgData name="Peter Eichenberger" userId="728f4d23-4a61-4401-9315-f0ce5ffabd34" providerId="ADAL" clId="{255E8B6A-517D-40F8-8E40-C3F69FE10DF6}" dt="2023-09-24T21:38:34.589" v="7073" actId="2696"/>
        <pc:sldMkLst>
          <pc:docMk/>
          <pc:sldMk cId="616323019" sldId="626"/>
        </pc:sldMkLst>
        <pc:spChg chg="mod">
          <ac:chgData name="Peter Eichenberger" userId="728f4d23-4a61-4401-9315-f0ce5ffabd34" providerId="ADAL" clId="{255E8B6A-517D-40F8-8E40-C3F69FE10DF6}" dt="2023-09-24T21:38:24.072" v="7045" actId="948"/>
          <ac:spMkLst>
            <pc:docMk/>
            <pc:sldMk cId="616323019" sldId="626"/>
            <ac:spMk id="5" creationId="{00000000-0000-0000-0000-000000000000}"/>
          </ac:spMkLst>
        </pc:spChg>
        <pc:spChg chg="add del mod modVis">
          <ac:chgData name="Peter Eichenberger" userId="728f4d23-4a61-4401-9315-f0ce5ffabd34" providerId="ADAL" clId="{255E8B6A-517D-40F8-8E40-C3F69FE10DF6}" dt="2023-09-24T21:38:17.219" v="6995"/>
          <ac:spMkLst>
            <pc:docMk/>
            <pc:sldMk cId="616323019" sldId="626"/>
            <ac:spMk id="6" creationId="{280F2152-2D8B-0178-1EAF-F37CA670FB5B}"/>
          </ac:spMkLst>
        </pc:spChg>
        <pc:spChg chg="mod">
          <ac:chgData name="Peter Eichenberger" userId="728f4d23-4a61-4401-9315-f0ce5ffabd34" providerId="ADAL" clId="{255E8B6A-517D-40F8-8E40-C3F69FE10DF6}" dt="2023-09-24T21:37:48.359" v="6961" actId="20577"/>
          <ac:spMkLst>
            <pc:docMk/>
            <pc:sldMk cId="616323019" sldId="626"/>
            <ac:spMk id="7" creationId="{00000000-0000-0000-0000-000000000000}"/>
          </ac:spMkLst>
        </pc:spChg>
        <pc:spChg chg="add del mod modVis">
          <ac:chgData name="Peter Eichenberger" userId="728f4d23-4a61-4401-9315-f0ce5ffabd34" providerId="ADAL" clId="{255E8B6A-517D-40F8-8E40-C3F69FE10DF6}" dt="2023-09-24T21:38:22.818" v="7038"/>
          <ac:spMkLst>
            <pc:docMk/>
            <pc:sldMk cId="616323019" sldId="626"/>
            <ac:spMk id="14" creationId="{67974E24-0DB1-74FC-83AB-DF2F85FEE8B1}"/>
          </ac:spMkLst>
        </pc:spChg>
        <pc:spChg chg="add del mod modVis">
          <ac:chgData name="Peter Eichenberger" userId="728f4d23-4a61-4401-9315-f0ce5ffabd34" providerId="ADAL" clId="{255E8B6A-517D-40F8-8E40-C3F69FE10DF6}" dt="2023-09-24T21:38:24.089" v="7070"/>
          <ac:spMkLst>
            <pc:docMk/>
            <pc:sldMk cId="616323019" sldId="626"/>
            <ac:spMk id="15" creationId="{B78119F4-EF70-178B-6E87-D8A1D8DA505C}"/>
          </ac:spMkLst>
        </pc:spChg>
        <pc:graphicFrameChg chg="add mod ord modVis replST">
          <ac:chgData name="Peter Eichenberger" userId="728f4d23-4a61-4401-9315-f0ce5ffabd34" providerId="ADAL" clId="{255E8B6A-517D-40F8-8E40-C3F69FE10DF6}" dt="2023-09-24T21:38:24.091" v="7072"/>
          <ac:graphicFrameMkLst>
            <pc:docMk/>
            <pc:sldMk cId="616323019" sldId="626"/>
            <ac:graphicFrameMk id="8" creationId="{24334EFF-8BC3-1674-F2D3-94ECFB2CC945}"/>
          </ac:graphicFrameMkLst>
        </pc:graphicFrameChg>
      </pc:sldChg>
      <pc:sldChg chg="modSp add mod ord">
        <pc:chgData name="Peter Eichenberger" userId="728f4d23-4a61-4401-9315-f0ce5ffabd34" providerId="ADAL" clId="{255E8B6A-517D-40F8-8E40-C3F69FE10DF6}" dt="2023-09-24T21:39:08.334" v="7077"/>
        <pc:sldMkLst>
          <pc:docMk/>
          <pc:sldMk cId="2442276900" sldId="626"/>
        </pc:sldMkLst>
        <pc:spChg chg="mod">
          <ac:chgData name="Peter Eichenberger" userId="728f4d23-4a61-4401-9315-f0ce5ffabd34" providerId="ADAL" clId="{255E8B6A-517D-40F8-8E40-C3F69FE10DF6}" dt="2023-09-24T21:39:08.334" v="7077"/>
          <ac:spMkLst>
            <pc:docMk/>
            <pc:sldMk cId="2442276900" sldId="626"/>
            <ac:spMk id="7" creationId="{00000000-0000-0000-0000-000000000000}"/>
          </ac:spMkLst>
        </pc:spChg>
      </pc:sldChg>
      <pc:sldChg chg="addSp delSp modSp new add mod">
        <pc:chgData name="Peter Eichenberger" userId="728f4d23-4a61-4401-9315-f0ce5ffabd34" providerId="ADAL" clId="{255E8B6A-517D-40F8-8E40-C3F69FE10DF6}" dt="2023-09-24T22:09:53.491" v="7832"/>
        <pc:sldMkLst>
          <pc:docMk/>
          <pc:sldMk cId="3817820276" sldId="627"/>
        </pc:sldMkLst>
        <pc:spChg chg="mod">
          <ac:chgData name="Peter Eichenberger" userId="728f4d23-4a61-4401-9315-f0ce5ffabd34" providerId="ADAL" clId="{255E8B6A-517D-40F8-8E40-C3F69FE10DF6}" dt="2023-09-24T22:09:53.476" v="7805" actId="948"/>
          <ac:spMkLst>
            <pc:docMk/>
            <pc:sldMk cId="3817820276" sldId="627"/>
            <ac:spMk id="5" creationId="{8C61A139-5E9C-E58E-B5DE-4259C9D5E5A5}"/>
          </ac:spMkLst>
        </pc:spChg>
        <pc:spChg chg="mod">
          <ac:chgData name="Peter Eichenberger" userId="728f4d23-4a61-4401-9315-f0ce5ffabd34" providerId="ADAL" clId="{255E8B6A-517D-40F8-8E40-C3F69FE10DF6}" dt="2023-09-24T21:40:59.886" v="7092"/>
          <ac:spMkLst>
            <pc:docMk/>
            <pc:sldMk cId="3817820276" sldId="627"/>
            <ac:spMk id="6" creationId="{48C2C6BE-9150-B024-9B17-4C56F09D8C87}"/>
          </ac:spMkLst>
        </pc:spChg>
        <pc:spChg chg="mod">
          <ac:chgData name="Peter Eichenberger" userId="728f4d23-4a61-4401-9315-f0ce5ffabd34" providerId="ADAL" clId="{255E8B6A-517D-40F8-8E40-C3F69FE10DF6}" dt="2023-09-24T21:40:33.852" v="7085" actId="27636"/>
          <ac:spMkLst>
            <pc:docMk/>
            <pc:sldMk cId="3817820276" sldId="627"/>
            <ac:spMk id="7" creationId="{2A12D354-9706-1AD3-AD70-8CA0A9E50E0D}"/>
          </ac:spMkLst>
        </pc:spChg>
        <pc:spChg chg="add del mod">
          <ac:chgData name="Peter Eichenberger" userId="728f4d23-4a61-4401-9315-f0ce5ffabd34" providerId="ADAL" clId="{255E8B6A-517D-40F8-8E40-C3F69FE10DF6}" dt="2023-09-24T21:41:04.151" v="7094" actId="478"/>
          <ac:spMkLst>
            <pc:docMk/>
            <pc:sldMk cId="3817820276" sldId="627"/>
            <ac:spMk id="8" creationId="{00475E37-CC76-F4FF-5CA5-917893B3C573}"/>
          </ac:spMkLst>
        </pc:spChg>
        <pc:spChg chg="add del mod modVis">
          <ac:chgData name="Peter Eichenberger" userId="728f4d23-4a61-4401-9315-f0ce5ffabd34" providerId="ADAL" clId="{255E8B6A-517D-40F8-8E40-C3F69FE10DF6}" dt="2023-09-24T22:09:50.762" v="7766"/>
          <ac:spMkLst>
            <pc:docMk/>
            <pc:sldMk cId="3817820276" sldId="627"/>
            <ac:spMk id="11" creationId="{AD4A6D1E-141A-6172-F769-2580D35011E1}"/>
          </ac:spMkLst>
        </pc:spChg>
        <pc:spChg chg="add del mod modVis">
          <ac:chgData name="Peter Eichenberger" userId="728f4d23-4a61-4401-9315-f0ce5ffabd34" providerId="ADAL" clId="{255E8B6A-517D-40F8-8E40-C3F69FE10DF6}" dt="2023-09-24T22:09:51.477" v="7795"/>
          <ac:spMkLst>
            <pc:docMk/>
            <pc:sldMk cId="3817820276" sldId="627"/>
            <ac:spMk id="12" creationId="{45ED27B8-1805-8EC6-2370-6193DB7C0CA4}"/>
          </ac:spMkLst>
        </pc:spChg>
        <pc:spChg chg="add del mod modVis">
          <ac:chgData name="Peter Eichenberger" userId="728f4d23-4a61-4401-9315-f0ce5ffabd34" providerId="ADAL" clId="{255E8B6A-517D-40F8-8E40-C3F69FE10DF6}" dt="2023-09-24T22:09:53.489" v="7830"/>
          <ac:spMkLst>
            <pc:docMk/>
            <pc:sldMk cId="3817820276" sldId="627"/>
            <ac:spMk id="13" creationId="{502ECE59-08BB-89EB-07A2-9AD6F71A5648}"/>
          </ac:spMkLst>
        </pc:spChg>
        <pc:graphicFrameChg chg="add mod ord modVis replST">
          <ac:chgData name="Peter Eichenberger" userId="728f4d23-4a61-4401-9315-f0ce5ffabd34" providerId="ADAL" clId="{255E8B6A-517D-40F8-8E40-C3F69FE10DF6}" dt="2023-09-24T22:09:53.491" v="7832"/>
          <ac:graphicFrameMkLst>
            <pc:docMk/>
            <pc:sldMk cId="3817820276" sldId="627"/>
            <ac:graphicFrameMk id="10" creationId="{4ADBF853-F66B-D533-91E6-730137597365}"/>
          </ac:graphicFrameMkLst>
        </pc:graphicFrameChg>
        <pc:picChg chg="add mod">
          <ac:chgData name="Peter Eichenberger" userId="728f4d23-4a61-4401-9315-f0ce5ffabd34" providerId="ADAL" clId="{255E8B6A-517D-40F8-8E40-C3F69FE10DF6}" dt="2023-09-24T21:41:10.021" v="7096" actId="1076"/>
          <ac:picMkLst>
            <pc:docMk/>
            <pc:sldMk cId="3817820276" sldId="627"/>
            <ac:picMk id="9" creationId="{152941CE-E6FE-143B-75BD-E1E3EAE31C01}"/>
          </ac:picMkLst>
        </pc:picChg>
      </pc:sldChg>
      <pc:sldChg chg="addSp delSp modSp new add mod">
        <pc:chgData name="Peter Eichenberger" userId="728f4d23-4a61-4401-9315-f0ce5ffabd34" providerId="ADAL" clId="{255E8B6A-517D-40F8-8E40-C3F69FE10DF6}" dt="2023-09-24T21:42:23.877" v="7423" actId="1076"/>
        <pc:sldMkLst>
          <pc:docMk/>
          <pc:sldMk cId="774481269" sldId="628"/>
        </pc:sldMkLst>
        <pc:spChg chg="mod">
          <ac:chgData name="Peter Eichenberger" userId="728f4d23-4a61-4401-9315-f0ce5ffabd34" providerId="ADAL" clId="{255E8B6A-517D-40F8-8E40-C3F69FE10DF6}" dt="2023-09-24T21:42:18.611" v="7395" actId="948"/>
          <ac:spMkLst>
            <pc:docMk/>
            <pc:sldMk cId="774481269" sldId="628"/>
            <ac:spMk id="5" creationId="{6C2A3CCB-CA50-4F21-87D5-DC6F0686D11E}"/>
          </ac:spMkLst>
        </pc:spChg>
        <pc:spChg chg="mod">
          <ac:chgData name="Peter Eichenberger" userId="728f4d23-4a61-4401-9315-f0ce5ffabd34" providerId="ADAL" clId="{255E8B6A-517D-40F8-8E40-C3F69FE10DF6}" dt="2023-09-24T21:42:00.286" v="7101" actId="27636"/>
          <ac:spMkLst>
            <pc:docMk/>
            <pc:sldMk cId="774481269" sldId="628"/>
            <ac:spMk id="7" creationId="{182DAC4D-2649-DD0B-04DF-612211DC4114}"/>
          </ac:spMkLst>
        </pc:spChg>
        <pc:spChg chg="add del mod modVis">
          <ac:chgData name="Peter Eichenberger" userId="728f4d23-4a61-4401-9315-f0ce5ffabd34" providerId="ADAL" clId="{255E8B6A-517D-40F8-8E40-C3F69FE10DF6}" dt="2023-09-24T21:42:07.649" v="7161"/>
          <ac:spMkLst>
            <pc:docMk/>
            <pc:sldMk cId="774481269" sldId="628"/>
            <ac:spMk id="10" creationId="{660CA77A-E212-3E85-6BB8-7B905BA7BAE7}"/>
          </ac:spMkLst>
        </pc:spChg>
        <pc:spChg chg="add del mod modVis">
          <ac:chgData name="Peter Eichenberger" userId="728f4d23-4a61-4401-9315-f0ce5ffabd34" providerId="ADAL" clId="{255E8B6A-517D-40F8-8E40-C3F69FE10DF6}" dt="2023-09-24T21:42:07.948" v="7191"/>
          <ac:spMkLst>
            <pc:docMk/>
            <pc:sldMk cId="774481269" sldId="628"/>
            <ac:spMk id="11" creationId="{23E3F799-0523-2E13-F36E-4B388B2AC921}"/>
          </ac:spMkLst>
        </pc:spChg>
        <pc:spChg chg="add del mod modVis">
          <ac:chgData name="Peter Eichenberger" userId="728f4d23-4a61-4401-9315-f0ce5ffabd34" providerId="ADAL" clId="{255E8B6A-517D-40F8-8E40-C3F69FE10DF6}" dt="2023-09-24T21:42:09.431" v="7224"/>
          <ac:spMkLst>
            <pc:docMk/>
            <pc:sldMk cId="774481269" sldId="628"/>
            <ac:spMk id="12" creationId="{D5F67132-024C-9107-5EBA-237210B72A6D}"/>
          </ac:spMkLst>
        </pc:spChg>
        <pc:spChg chg="add del mod modVis">
          <ac:chgData name="Peter Eichenberger" userId="728f4d23-4a61-4401-9315-f0ce5ffabd34" providerId="ADAL" clId="{255E8B6A-517D-40F8-8E40-C3F69FE10DF6}" dt="2023-09-24T21:42:11.307" v="7257"/>
          <ac:spMkLst>
            <pc:docMk/>
            <pc:sldMk cId="774481269" sldId="628"/>
            <ac:spMk id="13" creationId="{EE5F236D-74FF-FAC9-E8F2-FC242336497F}"/>
          </ac:spMkLst>
        </pc:spChg>
        <pc:spChg chg="add del mod modVis">
          <ac:chgData name="Peter Eichenberger" userId="728f4d23-4a61-4401-9315-f0ce5ffabd34" providerId="ADAL" clId="{255E8B6A-517D-40F8-8E40-C3F69FE10DF6}" dt="2023-09-24T21:42:12.136" v="7286"/>
          <ac:spMkLst>
            <pc:docMk/>
            <pc:sldMk cId="774481269" sldId="628"/>
            <ac:spMk id="14" creationId="{332C8768-2593-96EE-01E5-A857283249B3}"/>
          </ac:spMkLst>
        </pc:spChg>
        <pc:spChg chg="add del mod modVis">
          <ac:chgData name="Peter Eichenberger" userId="728f4d23-4a61-4401-9315-f0ce5ffabd34" providerId="ADAL" clId="{255E8B6A-517D-40F8-8E40-C3F69FE10DF6}" dt="2023-09-24T21:42:14.065" v="7318"/>
          <ac:spMkLst>
            <pc:docMk/>
            <pc:sldMk cId="774481269" sldId="628"/>
            <ac:spMk id="15" creationId="{38D1106E-8F3A-B0CF-EED3-495266ECEA4D}"/>
          </ac:spMkLst>
        </pc:spChg>
        <pc:spChg chg="add del mod modVis">
          <ac:chgData name="Peter Eichenberger" userId="728f4d23-4a61-4401-9315-f0ce5ffabd34" providerId="ADAL" clId="{255E8B6A-517D-40F8-8E40-C3F69FE10DF6}" dt="2023-09-24T21:42:14.775" v="7348"/>
          <ac:spMkLst>
            <pc:docMk/>
            <pc:sldMk cId="774481269" sldId="628"/>
            <ac:spMk id="16" creationId="{A63F09F1-59E5-8DBD-E988-8EF7FE0FB36E}"/>
          </ac:spMkLst>
        </pc:spChg>
        <pc:spChg chg="add del mod modVis">
          <ac:chgData name="Peter Eichenberger" userId="728f4d23-4a61-4401-9315-f0ce5ffabd34" providerId="ADAL" clId="{255E8B6A-517D-40F8-8E40-C3F69FE10DF6}" dt="2023-09-24T21:42:17.403" v="7388"/>
          <ac:spMkLst>
            <pc:docMk/>
            <pc:sldMk cId="774481269" sldId="628"/>
            <ac:spMk id="17" creationId="{84477CBF-36F9-3B27-5349-9E448E0EDB4D}"/>
          </ac:spMkLst>
        </pc:spChg>
        <pc:spChg chg="add del mod modVis">
          <ac:chgData name="Peter Eichenberger" userId="728f4d23-4a61-4401-9315-f0ce5ffabd34" providerId="ADAL" clId="{255E8B6A-517D-40F8-8E40-C3F69FE10DF6}" dt="2023-09-24T21:42:18.626" v="7420"/>
          <ac:spMkLst>
            <pc:docMk/>
            <pc:sldMk cId="774481269" sldId="628"/>
            <ac:spMk id="18" creationId="{183D4D0D-FC23-59F5-881C-8A2C82C251E4}"/>
          </ac:spMkLst>
        </pc:spChg>
        <pc:graphicFrameChg chg="add mod ord modVis replST">
          <ac:chgData name="Peter Eichenberger" userId="728f4d23-4a61-4401-9315-f0ce5ffabd34" providerId="ADAL" clId="{255E8B6A-517D-40F8-8E40-C3F69FE10DF6}" dt="2023-09-24T21:42:18.627" v="7422"/>
          <ac:graphicFrameMkLst>
            <pc:docMk/>
            <pc:sldMk cId="774481269" sldId="628"/>
            <ac:graphicFrameMk id="9" creationId="{F2065591-529B-5BAB-5FDA-FF4D56C551F0}"/>
          </ac:graphicFrameMkLst>
        </pc:graphicFrameChg>
        <pc:picChg chg="add mod">
          <ac:chgData name="Peter Eichenberger" userId="728f4d23-4a61-4401-9315-f0ce5ffabd34" providerId="ADAL" clId="{255E8B6A-517D-40F8-8E40-C3F69FE10DF6}" dt="2023-09-24T21:42:23.877" v="7423" actId="1076"/>
          <ac:picMkLst>
            <pc:docMk/>
            <pc:sldMk cId="774481269" sldId="628"/>
            <ac:picMk id="8" creationId="{5E5D0DBB-1B2B-9000-FFE2-8C09E24470A3}"/>
          </ac:picMkLst>
        </pc:picChg>
      </pc:sldChg>
      <pc:sldChg chg="addSp delSp modSp new add mod">
        <pc:chgData name="Peter Eichenberger" userId="728f4d23-4a61-4401-9315-f0ce5ffabd34" providerId="ADAL" clId="{255E8B6A-517D-40F8-8E40-C3F69FE10DF6}" dt="2023-09-24T22:34:09.216" v="8518" actId="1076"/>
        <pc:sldMkLst>
          <pc:docMk/>
          <pc:sldMk cId="167531784" sldId="629"/>
        </pc:sldMkLst>
        <pc:spChg chg="mod">
          <ac:chgData name="Peter Eichenberger" userId="728f4d23-4a61-4401-9315-f0ce5ffabd34" providerId="ADAL" clId="{255E8B6A-517D-40F8-8E40-C3F69FE10DF6}" dt="2023-09-24T22:19:29.798" v="8458" actId="948"/>
          <ac:spMkLst>
            <pc:docMk/>
            <pc:sldMk cId="167531784" sldId="629"/>
            <ac:spMk id="5" creationId="{B9F1D3C5-2728-7A05-9515-4B3465508175}"/>
          </ac:spMkLst>
        </pc:spChg>
        <pc:spChg chg="mod">
          <ac:chgData name="Peter Eichenberger" userId="728f4d23-4a61-4401-9315-f0ce5ffabd34" providerId="ADAL" clId="{255E8B6A-517D-40F8-8E40-C3F69FE10DF6}" dt="2023-09-24T22:34:02.511" v="8516" actId="6549"/>
          <ac:spMkLst>
            <pc:docMk/>
            <pc:sldMk cId="167531784" sldId="629"/>
            <ac:spMk id="6" creationId="{033FC4A7-2772-F537-2983-C5323C89E84D}"/>
          </ac:spMkLst>
        </pc:spChg>
        <pc:spChg chg="mod">
          <ac:chgData name="Peter Eichenberger" userId="728f4d23-4a61-4401-9315-f0ce5ffabd34" providerId="ADAL" clId="{255E8B6A-517D-40F8-8E40-C3F69FE10DF6}" dt="2023-09-24T22:14:34.900" v="8118" actId="27636"/>
          <ac:spMkLst>
            <pc:docMk/>
            <pc:sldMk cId="167531784" sldId="629"/>
            <ac:spMk id="7" creationId="{3A3DEFD3-08D8-FEB8-7D26-741CEF80BE0D}"/>
          </ac:spMkLst>
        </pc:spChg>
        <pc:spChg chg="add del mod modVis">
          <ac:chgData name="Peter Eichenberger" userId="728f4d23-4a61-4401-9315-f0ce5ffabd34" providerId="ADAL" clId="{255E8B6A-517D-40F8-8E40-C3F69FE10DF6}" dt="2023-09-24T22:14:34.863" v="8102"/>
          <ac:spMkLst>
            <pc:docMk/>
            <pc:sldMk cId="167531784" sldId="629"/>
            <ac:spMk id="8" creationId="{74CFFC11-C832-0CFA-7691-9EC2D0228F83}"/>
          </ac:spMkLst>
        </pc:spChg>
        <pc:spChg chg="add del mod modVis">
          <ac:chgData name="Peter Eichenberger" userId="728f4d23-4a61-4401-9315-f0ce5ffabd34" providerId="ADAL" clId="{255E8B6A-517D-40F8-8E40-C3F69FE10DF6}" dt="2023-09-24T22:14:36.536" v="8148"/>
          <ac:spMkLst>
            <pc:docMk/>
            <pc:sldMk cId="167531784" sldId="629"/>
            <ac:spMk id="10" creationId="{A7C96B8B-8A7E-977F-DD78-47109B37806B}"/>
          </ac:spMkLst>
        </pc:spChg>
        <pc:spChg chg="add del mod modVis">
          <ac:chgData name="Peter Eichenberger" userId="728f4d23-4a61-4401-9315-f0ce5ffabd34" providerId="ADAL" clId="{255E8B6A-517D-40F8-8E40-C3F69FE10DF6}" dt="2023-09-24T22:19:29.811" v="8483"/>
          <ac:spMkLst>
            <pc:docMk/>
            <pc:sldMk cId="167531784" sldId="629"/>
            <ac:spMk id="11" creationId="{DABB51C9-1AF4-836E-6684-4201596C9856}"/>
          </ac:spMkLst>
        </pc:spChg>
        <pc:graphicFrameChg chg="add mod ord modVis replST">
          <ac:chgData name="Peter Eichenberger" userId="728f4d23-4a61-4401-9315-f0ce5ffabd34" providerId="ADAL" clId="{255E8B6A-517D-40F8-8E40-C3F69FE10DF6}" dt="2023-09-24T22:19:29.813" v="8485"/>
          <ac:graphicFrameMkLst>
            <pc:docMk/>
            <pc:sldMk cId="167531784" sldId="629"/>
            <ac:graphicFrameMk id="9" creationId="{14F2C167-B0BD-6B82-9EC2-F96BDFCD610F}"/>
          </ac:graphicFrameMkLst>
        </pc:graphicFrameChg>
        <pc:picChg chg="add mod">
          <ac:chgData name="Peter Eichenberger" userId="728f4d23-4a61-4401-9315-f0ce5ffabd34" providerId="ADAL" clId="{255E8B6A-517D-40F8-8E40-C3F69FE10DF6}" dt="2023-09-24T22:34:09.216" v="8518" actId="1076"/>
          <ac:picMkLst>
            <pc:docMk/>
            <pc:sldMk cId="167531784" sldId="629"/>
            <ac:picMk id="13" creationId="{3BB4842D-E1C7-1F64-863D-E8CF0620FFCA}"/>
          </ac:picMkLst>
        </pc:picChg>
      </pc:sldChg>
      <pc:sldChg chg="addSp delSp modSp new add mod">
        <pc:chgData name="Peter Eichenberger" userId="728f4d23-4a61-4401-9315-f0ce5ffabd34" providerId="ADAL" clId="{255E8B6A-517D-40F8-8E40-C3F69FE10DF6}" dt="2023-09-25T14:52:25.802" v="8668" actId="1076"/>
        <pc:sldMkLst>
          <pc:docMk/>
          <pc:sldMk cId="2328471598" sldId="630"/>
        </pc:sldMkLst>
        <pc:spChg chg="mod">
          <ac:chgData name="Peter Eichenberger" userId="728f4d23-4a61-4401-9315-f0ce5ffabd34" providerId="ADAL" clId="{255E8B6A-517D-40F8-8E40-C3F69FE10DF6}" dt="2023-09-24T22:39:36.027" v="8636" actId="948"/>
          <ac:spMkLst>
            <pc:docMk/>
            <pc:sldMk cId="2328471598" sldId="630"/>
            <ac:spMk id="5" creationId="{E6296665-7A56-0251-028C-C620C9695233}"/>
          </ac:spMkLst>
        </pc:spChg>
        <pc:spChg chg="mod">
          <ac:chgData name="Peter Eichenberger" userId="728f4d23-4a61-4401-9315-f0ce5ffabd34" providerId="ADAL" clId="{255E8B6A-517D-40F8-8E40-C3F69FE10DF6}" dt="2023-09-24T22:39:27.436" v="8558" actId="27636"/>
          <ac:spMkLst>
            <pc:docMk/>
            <pc:sldMk cId="2328471598" sldId="630"/>
            <ac:spMk id="7" creationId="{0D460511-6EEB-6678-26F5-67FABD793711}"/>
          </ac:spMkLst>
        </pc:spChg>
        <pc:spChg chg="add del mod modVis">
          <ac:chgData name="Peter Eichenberger" userId="728f4d23-4a61-4401-9315-f0ce5ffabd34" providerId="ADAL" clId="{255E8B6A-517D-40F8-8E40-C3F69FE10DF6}" dt="2023-09-24T22:39:28.875" v="8590"/>
          <ac:spMkLst>
            <pc:docMk/>
            <pc:sldMk cId="2328471598" sldId="630"/>
            <ac:spMk id="9" creationId="{10647137-0BF5-A3A2-F4EF-D01B025762E4}"/>
          </ac:spMkLst>
        </pc:spChg>
        <pc:spChg chg="add del mod modVis">
          <ac:chgData name="Peter Eichenberger" userId="728f4d23-4a61-4401-9315-f0ce5ffabd34" providerId="ADAL" clId="{255E8B6A-517D-40F8-8E40-C3F69FE10DF6}" dt="2023-09-24T22:39:33.426" v="8625"/>
          <ac:spMkLst>
            <pc:docMk/>
            <pc:sldMk cId="2328471598" sldId="630"/>
            <ac:spMk id="10" creationId="{6FEAEAD9-C975-A9D9-C6F9-B17AFB5C4050}"/>
          </ac:spMkLst>
        </pc:spChg>
        <pc:spChg chg="add del mod modVis">
          <ac:chgData name="Peter Eichenberger" userId="728f4d23-4a61-4401-9315-f0ce5ffabd34" providerId="ADAL" clId="{255E8B6A-517D-40F8-8E40-C3F69FE10DF6}" dt="2023-09-24T22:39:36.041" v="8661"/>
          <ac:spMkLst>
            <pc:docMk/>
            <pc:sldMk cId="2328471598" sldId="630"/>
            <ac:spMk id="11" creationId="{0A1E27C2-043F-B800-75C4-26BA0A46D64A}"/>
          </ac:spMkLst>
        </pc:spChg>
        <pc:graphicFrameChg chg="add mod ord modVis replST">
          <ac:chgData name="Peter Eichenberger" userId="728f4d23-4a61-4401-9315-f0ce5ffabd34" providerId="ADAL" clId="{255E8B6A-517D-40F8-8E40-C3F69FE10DF6}" dt="2023-09-24T22:39:36.042" v="8663"/>
          <ac:graphicFrameMkLst>
            <pc:docMk/>
            <pc:sldMk cId="2328471598" sldId="630"/>
            <ac:graphicFrameMk id="8" creationId="{37C37DA1-0E8B-D21F-79DE-790B3809269B}"/>
          </ac:graphicFrameMkLst>
        </pc:graphicFrameChg>
        <pc:picChg chg="add mod">
          <ac:chgData name="Peter Eichenberger" userId="728f4d23-4a61-4401-9315-f0ce5ffabd34" providerId="ADAL" clId="{255E8B6A-517D-40F8-8E40-C3F69FE10DF6}" dt="2023-09-25T14:52:25.802" v="8668" actId="1076"/>
          <ac:picMkLst>
            <pc:docMk/>
            <pc:sldMk cId="2328471598" sldId="630"/>
            <ac:picMk id="10" creationId="{E72CDF21-8E8F-BDD3-38EA-E5DB097A559F}"/>
          </ac:picMkLst>
        </pc:picChg>
      </pc:sldChg>
      <pc:sldMasterChg chg="delSldLayout">
        <pc:chgData name="Peter Eichenberger" userId="728f4d23-4a61-4401-9315-f0ce5ffabd34" providerId="ADAL" clId="{255E8B6A-517D-40F8-8E40-C3F69FE10DF6}" dt="2023-09-24T19:51:49.503" v="3090" actId="2696"/>
        <pc:sldMasterMkLst>
          <pc:docMk/>
          <pc:sldMasterMk cId="3256726509" sldId="2147483842"/>
        </pc:sldMasterMkLst>
        <pc:sldLayoutChg chg="del">
          <pc:chgData name="Peter Eichenberger" userId="728f4d23-4a61-4401-9315-f0ce5ffabd34" providerId="ADAL" clId="{255E8B6A-517D-40F8-8E40-C3F69FE10DF6}" dt="2023-09-24T19:51:49.503" v="3090" actId="2696"/>
          <pc:sldLayoutMkLst>
            <pc:docMk/>
            <pc:sldMasterMk cId="3256726509" sldId="2147483842"/>
            <pc:sldLayoutMk cId="3382163670" sldId="2147483855"/>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998E594-98F6-3A40-9CB1-890EFD882430}" type="datetimeFigureOut">
              <a:rPr lang="de-DE" smtClean="0"/>
              <a:t>26.09.2023</a:t>
            </a:fld>
            <a:endParaRPr lang="de-DE"/>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3EA8F55-2519-6F41-91E3-24F0254F6FF0}" type="slidenum">
              <a:rPr lang="de-DE" smtClean="0"/>
              <a:t>‹Nr.›</a:t>
            </a:fld>
            <a:endParaRPr lang="de-DE"/>
          </a:p>
        </p:txBody>
      </p:sp>
    </p:spTree>
    <p:extLst>
      <p:ext uri="{BB962C8B-B14F-4D97-AF65-F5344CB8AC3E}">
        <p14:creationId xmlns:p14="http://schemas.microsoft.com/office/powerpoint/2010/main" val="21530589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48DA80C-0032-A04F-8DC3-1D9FA424B670}" type="datetimeFigureOut">
              <a:rPr lang="de-DE" smtClean="0"/>
              <a:t>26.09.2023</a:t>
            </a:fld>
            <a:endParaRPr lang="de-DE"/>
          </a:p>
        </p:txBody>
      </p:sp>
      <p:sp>
        <p:nvSpPr>
          <p:cNvPr id="4" name="Folienbildplatzhalter 3"/>
          <p:cNvSpPr>
            <a:spLocks noGrp="1" noRot="1" noChangeAspect="1"/>
          </p:cNvSpPr>
          <p:nvPr>
            <p:ph type="sldImg" idx="2"/>
          </p:nvPr>
        </p:nvSpPr>
        <p:spPr>
          <a:xfrm>
            <a:off x="379413" y="685800"/>
            <a:ext cx="6099175"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CH"/>
              <a:t>Mastertextformat bearbeiten</a:t>
            </a:r>
          </a:p>
          <a:p>
            <a:pPr lvl="1"/>
            <a:r>
              <a:rPr lang="de-CH"/>
              <a:t>Zweite Ebene</a:t>
            </a:r>
          </a:p>
          <a:p>
            <a:pPr lvl="2"/>
            <a:r>
              <a:rPr lang="de-CH"/>
              <a:t>Dritte Ebene</a:t>
            </a:r>
          </a:p>
          <a:p>
            <a:pPr lvl="3"/>
            <a:r>
              <a:rPr lang="de-CH"/>
              <a:t>Vierte Ebene</a:t>
            </a:r>
          </a:p>
          <a:p>
            <a:pPr lvl="4"/>
            <a:r>
              <a:rPr lang="de-CH"/>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CD8BABC-F464-1C42-81DA-2E65C84DE5DA}" type="slidenum">
              <a:rPr lang="de-DE" smtClean="0"/>
              <a:t>‹Nr.›</a:t>
            </a:fld>
            <a:endParaRPr lang="de-DE"/>
          </a:p>
        </p:txBody>
      </p:sp>
    </p:spTree>
    <p:extLst>
      <p:ext uri="{BB962C8B-B14F-4D97-AF65-F5344CB8AC3E}">
        <p14:creationId xmlns:p14="http://schemas.microsoft.com/office/powerpoint/2010/main" val="940025241"/>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https://unsplash.com/de/fotos/LjqARJaJotc</a:t>
            </a:r>
          </a:p>
        </p:txBody>
      </p:sp>
      <p:sp>
        <p:nvSpPr>
          <p:cNvPr id="4" name="Foliennummernplatzhalter 3"/>
          <p:cNvSpPr>
            <a:spLocks noGrp="1"/>
          </p:cNvSpPr>
          <p:nvPr>
            <p:ph type="sldNum" sz="quarter" idx="5"/>
          </p:nvPr>
        </p:nvSpPr>
        <p:spPr/>
        <p:txBody>
          <a:bodyPr/>
          <a:lstStyle/>
          <a:p>
            <a:fld id="{DCD8BABC-F464-1C42-81DA-2E65C84DE5DA}" type="slidenum">
              <a:rPr lang="de-DE" smtClean="0"/>
              <a:t>5</a:t>
            </a:fld>
            <a:endParaRPr lang="de-DE"/>
          </a:p>
        </p:txBody>
      </p:sp>
    </p:spTree>
    <p:extLst>
      <p:ext uri="{BB962C8B-B14F-4D97-AF65-F5344CB8AC3E}">
        <p14:creationId xmlns:p14="http://schemas.microsoft.com/office/powerpoint/2010/main" val="24811023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https://www.pexels.com/de-de/foto/bunt-runden-weisser-hintergrund-farbenfroh-9227250/</a:t>
            </a:r>
          </a:p>
        </p:txBody>
      </p:sp>
      <p:sp>
        <p:nvSpPr>
          <p:cNvPr id="4" name="Foliennummernplatzhalter 3"/>
          <p:cNvSpPr>
            <a:spLocks noGrp="1"/>
          </p:cNvSpPr>
          <p:nvPr>
            <p:ph type="sldNum" sz="quarter" idx="5"/>
          </p:nvPr>
        </p:nvSpPr>
        <p:spPr/>
        <p:txBody>
          <a:bodyPr/>
          <a:lstStyle/>
          <a:p>
            <a:fld id="{DCD8BABC-F464-1C42-81DA-2E65C84DE5DA}" type="slidenum">
              <a:rPr lang="de-DE" smtClean="0"/>
              <a:t>9</a:t>
            </a:fld>
            <a:endParaRPr lang="de-DE"/>
          </a:p>
        </p:txBody>
      </p:sp>
    </p:spTree>
    <p:extLst>
      <p:ext uri="{BB962C8B-B14F-4D97-AF65-F5344CB8AC3E}">
        <p14:creationId xmlns:p14="http://schemas.microsoft.com/office/powerpoint/2010/main" val="1193859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DCD8BABC-F464-1C42-81DA-2E65C84DE5DA}" type="slidenum">
              <a:rPr lang="de-DE" smtClean="0"/>
              <a:t>10</a:t>
            </a:fld>
            <a:endParaRPr lang="de-DE"/>
          </a:p>
        </p:txBody>
      </p:sp>
    </p:spTree>
    <p:extLst>
      <p:ext uri="{BB962C8B-B14F-4D97-AF65-F5344CB8AC3E}">
        <p14:creationId xmlns:p14="http://schemas.microsoft.com/office/powerpoint/2010/main" val="41661404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https://www.pexels.com/de-de/foto/person-bergsteigen-303040/</a:t>
            </a:r>
          </a:p>
        </p:txBody>
      </p:sp>
      <p:sp>
        <p:nvSpPr>
          <p:cNvPr id="4" name="Foliennummernplatzhalter 3"/>
          <p:cNvSpPr>
            <a:spLocks noGrp="1"/>
          </p:cNvSpPr>
          <p:nvPr>
            <p:ph type="sldNum" sz="quarter" idx="5"/>
          </p:nvPr>
        </p:nvSpPr>
        <p:spPr/>
        <p:txBody>
          <a:bodyPr/>
          <a:lstStyle/>
          <a:p>
            <a:fld id="{DCD8BABC-F464-1C42-81DA-2E65C84DE5DA}" type="slidenum">
              <a:rPr lang="de-DE" smtClean="0"/>
              <a:t>20</a:t>
            </a:fld>
            <a:endParaRPr lang="de-DE"/>
          </a:p>
        </p:txBody>
      </p:sp>
    </p:spTree>
    <p:extLst>
      <p:ext uri="{BB962C8B-B14F-4D97-AF65-F5344CB8AC3E}">
        <p14:creationId xmlns:p14="http://schemas.microsoft.com/office/powerpoint/2010/main" val="39729816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https://www.testingtime.com/blog/9-grundregeln-user-testing/</a:t>
            </a:r>
          </a:p>
        </p:txBody>
      </p:sp>
      <p:sp>
        <p:nvSpPr>
          <p:cNvPr id="4" name="Foliennummernplatzhalter 3"/>
          <p:cNvSpPr>
            <a:spLocks noGrp="1"/>
          </p:cNvSpPr>
          <p:nvPr>
            <p:ph type="sldNum" sz="quarter" idx="5"/>
          </p:nvPr>
        </p:nvSpPr>
        <p:spPr/>
        <p:txBody>
          <a:bodyPr/>
          <a:lstStyle/>
          <a:p>
            <a:fld id="{DCD8BABC-F464-1C42-81DA-2E65C84DE5DA}" type="slidenum">
              <a:rPr lang="de-DE" smtClean="0"/>
              <a:t>27</a:t>
            </a:fld>
            <a:endParaRPr lang="de-DE"/>
          </a:p>
        </p:txBody>
      </p:sp>
    </p:spTree>
    <p:extLst>
      <p:ext uri="{BB962C8B-B14F-4D97-AF65-F5344CB8AC3E}">
        <p14:creationId xmlns:p14="http://schemas.microsoft.com/office/powerpoint/2010/main" val="20879746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https://www.pexels.com/de-de/foto/person-bergsteigen-303040/</a:t>
            </a:r>
          </a:p>
        </p:txBody>
      </p:sp>
      <p:sp>
        <p:nvSpPr>
          <p:cNvPr id="4" name="Foliennummernplatzhalter 3"/>
          <p:cNvSpPr>
            <a:spLocks noGrp="1"/>
          </p:cNvSpPr>
          <p:nvPr>
            <p:ph type="sldNum" sz="quarter" idx="5"/>
          </p:nvPr>
        </p:nvSpPr>
        <p:spPr/>
        <p:txBody>
          <a:bodyPr/>
          <a:lstStyle/>
          <a:p>
            <a:fld id="{DCD8BABC-F464-1C42-81DA-2E65C84DE5DA}" type="slidenum">
              <a:rPr lang="de-DE" smtClean="0"/>
              <a:t>34</a:t>
            </a:fld>
            <a:endParaRPr lang="de-DE"/>
          </a:p>
        </p:txBody>
      </p:sp>
    </p:spTree>
    <p:extLst>
      <p:ext uri="{BB962C8B-B14F-4D97-AF65-F5344CB8AC3E}">
        <p14:creationId xmlns:p14="http://schemas.microsoft.com/office/powerpoint/2010/main" val="5234828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err="1"/>
              <a:t>Methodiken</a:t>
            </a:r>
            <a:r>
              <a:rPr lang="de-CH" dirty="0"/>
              <a:t>: FMEA, FTA, ...</a:t>
            </a:r>
          </a:p>
          <a:p>
            <a:r>
              <a:rPr lang="de-CH" dirty="0" err="1"/>
              <a:t>Hazard</a:t>
            </a:r>
            <a:r>
              <a:rPr lang="de-CH" dirty="0"/>
              <a:t>: Sonne</a:t>
            </a:r>
          </a:p>
          <a:p>
            <a:r>
              <a:rPr lang="de-CH" dirty="0" err="1"/>
              <a:t>Sequence</a:t>
            </a:r>
            <a:r>
              <a:rPr lang="de-CH" dirty="0"/>
              <a:t>: Sonne -&gt; </a:t>
            </a:r>
            <a:r>
              <a:rPr lang="de-CH" dirty="0" err="1"/>
              <a:t>El.mag</a:t>
            </a:r>
            <a:r>
              <a:rPr lang="de-CH" dirty="0"/>
              <a:t>. Energie -&gt; UV-Anteil –&gt; Trifft auf Erde</a:t>
            </a:r>
          </a:p>
          <a:p>
            <a:r>
              <a:rPr lang="de-CH" dirty="0"/>
              <a:t>Situation: Badende sind der Sonne zur Mittagszeit ausgesetzt</a:t>
            </a:r>
          </a:p>
          <a:p>
            <a:r>
              <a:rPr lang="de-CH" dirty="0"/>
              <a:t>Harm: Sonnenbrand / Krebs</a:t>
            </a:r>
          </a:p>
          <a:p>
            <a:r>
              <a:rPr lang="de-CH" dirty="0" err="1"/>
              <a:t>Mitigation</a:t>
            </a:r>
            <a:r>
              <a:rPr lang="de-CH" dirty="0"/>
              <a:t>: Design: kein Zugang zum Strand / </a:t>
            </a:r>
            <a:r>
              <a:rPr lang="de-CH" dirty="0" err="1"/>
              <a:t>Protection</a:t>
            </a:r>
            <a:r>
              <a:rPr lang="de-CH" dirty="0"/>
              <a:t>: Sonnencreme, Schirm / Info: Warnung, wenn länger als X Minuten am </a:t>
            </a:r>
            <a:r>
              <a:rPr lang="de-CH" dirty="0" err="1"/>
              <a:t>Stran</a:t>
            </a:r>
            <a:endParaRPr lang="de-CH"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CA0674-8354-4680-9F20-279D8B22A8F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90291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DCD8BABC-F464-1C42-81DA-2E65C84DE5DA}" type="slidenum">
              <a:rPr lang="de-DE" smtClean="0"/>
              <a:t>37</a:t>
            </a:fld>
            <a:endParaRPr lang="de-DE"/>
          </a:p>
        </p:txBody>
      </p:sp>
    </p:spTree>
    <p:extLst>
      <p:ext uri="{BB962C8B-B14F-4D97-AF65-F5344CB8AC3E}">
        <p14:creationId xmlns:p14="http://schemas.microsoft.com/office/powerpoint/2010/main" val="1580467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DCD8BABC-F464-1C42-81DA-2E65C84DE5DA}" type="slidenum">
              <a:rPr lang="de-DE" smtClean="0"/>
              <a:t>39</a:t>
            </a:fld>
            <a:endParaRPr lang="de-DE"/>
          </a:p>
        </p:txBody>
      </p:sp>
    </p:spTree>
    <p:extLst>
      <p:ext uri="{BB962C8B-B14F-4D97-AF65-F5344CB8AC3E}">
        <p14:creationId xmlns:p14="http://schemas.microsoft.com/office/powerpoint/2010/main" val="28086764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folie mit Bildmask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hteck 4"/>
          <p:cNvSpPr/>
          <p:nvPr userDrawn="1"/>
        </p:nvSpPr>
        <p:spPr>
          <a:xfrm>
            <a:off x="1" y="0"/>
            <a:ext cx="12198350" cy="6858000"/>
          </a:xfrm>
          <a:prstGeom prst="rect">
            <a:avLst/>
          </a:prstGeom>
          <a:solidFill>
            <a:schemeClr val="tx1">
              <a:alpha val="1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21" name="Freihandform 20"/>
          <p:cNvSpPr/>
          <p:nvPr/>
        </p:nvSpPr>
        <p:spPr>
          <a:xfrm>
            <a:off x="3975404" y="679931"/>
            <a:ext cx="8222947" cy="6187327"/>
          </a:xfrm>
          <a:custGeom>
            <a:avLst/>
            <a:gdLst>
              <a:gd name="connsiteX0" fmla="*/ 5924544 w 8222947"/>
              <a:gd name="connsiteY0" fmla="*/ 885 h 6187327"/>
              <a:gd name="connsiteX1" fmla="*/ 6308590 w 8222947"/>
              <a:gd name="connsiteY1" fmla="*/ 41571 h 6187327"/>
              <a:gd name="connsiteX2" fmla="*/ 8006972 w 8222947"/>
              <a:gd name="connsiteY2" fmla="*/ 1782211 h 6187327"/>
              <a:gd name="connsiteX3" fmla="*/ 8214187 w 8222947"/>
              <a:gd name="connsiteY3" fmla="*/ 2329511 h 6187327"/>
              <a:gd name="connsiteX4" fmla="*/ 8222947 w 8222947"/>
              <a:gd name="connsiteY4" fmla="*/ 2362752 h 6187327"/>
              <a:gd name="connsiteX5" fmla="*/ 8222947 w 8222947"/>
              <a:gd name="connsiteY5" fmla="*/ 4688892 h 6187327"/>
              <a:gd name="connsiteX6" fmla="*/ 8207914 w 8222947"/>
              <a:gd name="connsiteY6" fmla="*/ 4742881 h 6187327"/>
              <a:gd name="connsiteX7" fmla="*/ 7556423 w 8222947"/>
              <a:gd name="connsiteY7" fmla="*/ 6028617 h 6187327"/>
              <a:gd name="connsiteX8" fmla="*/ 7425161 w 8222947"/>
              <a:gd name="connsiteY8" fmla="*/ 6187327 h 6187327"/>
              <a:gd name="connsiteX9" fmla="*/ 1006577 w 8222947"/>
              <a:gd name="connsiteY9" fmla="*/ 6187327 h 6187327"/>
              <a:gd name="connsiteX10" fmla="*/ 850964 w 8222947"/>
              <a:gd name="connsiteY10" fmla="*/ 5995980 h 6187327"/>
              <a:gd name="connsiteX11" fmla="*/ 422250 w 8222947"/>
              <a:gd name="connsiteY11" fmla="*/ 5267019 h 6187327"/>
              <a:gd name="connsiteX12" fmla="*/ 142610 w 8222947"/>
              <a:gd name="connsiteY12" fmla="*/ 2830055 h 6187327"/>
              <a:gd name="connsiteX13" fmla="*/ 3539677 w 8222947"/>
              <a:gd name="connsiteY13" fmla="*/ 2265216 h 6187327"/>
              <a:gd name="connsiteX14" fmla="*/ 5924544 w 8222947"/>
              <a:gd name="connsiteY14" fmla="*/ 885 h 6187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22947" h="6187327">
                <a:moveTo>
                  <a:pt x="5924544" y="885"/>
                </a:moveTo>
                <a:cubicBezTo>
                  <a:pt x="6041007" y="-3625"/>
                  <a:pt x="6168271" y="8957"/>
                  <a:pt x="6308590" y="41571"/>
                </a:cubicBezTo>
                <a:cubicBezTo>
                  <a:pt x="6952725" y="190142"/>
                  <a:pt x="7634399" y="972436"/>
                  <a:pt x="8006972" y="1782211"/>
                </a:cubicBezTo>
                <a:cubicBezTo>
                  <a:pt x="8089782" y="1962218"/>
                  <a:pt x="8158705" y="2145053"/>
                  <a:pt x="8214187" y="2329511"/>
                </a:cubicBezTo>
                <a:lnTo>
                  <a:pt x="8222947" y="2362752"/>
                </a:lnTo>
                <a:lnTo>
                  <a:pt x="8222947" y="4688892"/>
                </a:lnTo>
                <a:lnTo>
                  <a:pt x="8207914" y="4742881"/>
                </a:lnTo>
                <a:cubicBezTo>
                  <a:pt x="8067235" y="5203851"/>
                  <a:pt x="7847382" y="5639692"/>
                  <a:pt x="7556423" y="6028617"/>
                </a:cubicBezTo>
                <a:lnTo>
                  <a:pt x="7425161" y="6187327"/>
                </a:lnTo>
                <a:lnTo>
                  <a:pt x="1006577" y="6187327"/>
                </a:lnTo>
                <a:lnTo>
                  <a:pt x="850964" y="5995980"/>
                </a:lnTo>
                <a:cubicBezTo>
                  <a:pt x="686863" y="5772304"/>
                  <a:pt x="542722" y="5528860"/>
                  <a:pt x="422250" y="5267019"/>
                </a:cubicBezTo>
                <a:cubicBezTo>
                  <a:pt x="50312" y="4458802"/>
                  <a:pt x="-155418" y="3502075"/>
                  <a:pt x="142610" y="2830055"/>
                </a:cubicBezTo>
                <a:cubicBezTo>
                  <a:pt x="788131" y="1375996"/>
                  <a:pt x="2271479" y="2908304"/>
                  <a:pt x="3539677" y="2265216"/>
                </a:cubicBezTo>
                <a:cubicBezTo>
                  <a:pt x="4682264" y="1685095"/>
                  <a:pt x="4798738" y="44473"/>
                  <a:pt x="5924544" y="885"/>
                </a:cubicBezTo>
                <a:close/>
              </a:path>
            </a:pathLst>
          </a:custGeom>
          <a:solidFill>
            <a:schemeClr val="bg1">
              <a:alpha val="8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12" name="Freihandform 11"/>
          <p:cNvSpPr/>
          <p:nvPr/>
        </p:nvSpPr>
        <p:spPr>
          <a:xfrm>
            <a:off x="5642407" y="1910668"/>
            <a:ext cx="6555944" cy="4947333"/>
          </a:xfrm>
          <a:custGeom>
            <a:avLst/>
            <a:gdLst>
              <a:gd name="connsiteX0" fmla="*/ 4854063 w 6552531"/>
              <a:gd name="connsiteY0" fmla="*/ 7 h 4947333"/>
              <a:gd name="connsiteX1" fmla="*/ 5071206 w 6552531"/>
              <a:gd name="connsiteY1" fmla="*/ 27731 h 4947333"/>
              <a:gd name="connsiteX2" fmla="*/ 6551503 w 6552531"/>
              <a:gd name="connsiteY2" fmla="*/ 1809287 h 4947333"/>
              <a:gd name="connsiteX3" fmla="*/ 6552531 w 6552531"/>
              <a:gd name="connsiteY3" fmla="*/ 1812764 h 4947333"/>
              <a:gd name="connsiteX4" fmla="*/ 6552531 w 6552531"/>
              <a:gd name="connsiteY4" fmla="*/ 3922236 h 4947333"/>
              <a:gd name="connsiteX5" fmla="*/ 6508354 w 6552531"/>
              <a:gd name="connsiteY5" fmla="*/ 4056281 h 4947333"/>
              <a:gd name="connsiteX6" fmla="*/ 6167266 w 6552531"/>
              <a:gd name="connsiteY6" fmla="*/ 4753897 h 4947333"/>
              <a:gd name="connsiteX7" fmla="*/ 6033717 w 6552531"/>
              <a:gd name="connsiteY7" fmla="*/ 4947333 h 4947333"/>
              <a:gd name="connsiteX8" fmla="*/ 688221 w 6552531"/>
              <a:gd name="connsiteY8" fmla="*/ 4947333 h 4947333"/>
              <a:gd name="connsiteX9" fmla="*/ 669155 w 6552531"/>
              <a:gd name="connsiteY9" fmla="*/ 4921952 h 4947333"/>
              <a:gd name="connsiteX10" fmla="*/ 159446 w 6552531"/>
              <a:gd name="connsiteY10" fmla="*/ 3896401 h 4947333"/>
              <a:gd name="connsiteX11" fmla="*/ 44617 w 6552531"/>
              <a:gd name="connsiteY11" fmla="*/ 3440846 h 4947333"/>
              <a:gd name="connsiteX12" fmla="*/ 40529 w 6552531"/>
              <a:gd name="connsiteY12" fmla="*/ 3406626 h 4947333"/>
              <a:gd name="connsiteX13" fmla="*/ 39476 w 6552531"/>
              <a:gd name="connsiteY13" fmla="*/ 3401514 h 4947333"/>
              <a:gd name="connsiteX14" fmla="*/ 482859 w 6552531"/>
              <a:gd name="connsiteY14" fmla="*/ 1876033 h 4947333"/>
              <a:gd name="connsiteX15" fmla="*/ 896951 w 6552531"/>
              <a:gd name="connsiteY15" fmla="*/ 1759366 h 4947333"/>
              <a:gd name="connsiteX16" fmla="*/ 1369778 w 6552531"/>
              <a:gd name="connsiteY16" fmla="*/ 1839493 h 4947333"/>
              <a:gd name="connsiteX17" fmla="*/ 1408346 w 6552531"/>
              <a:gd name="connsiteY17" fmla="*/ 1854656 h 4947333"/>
              <a:gd name="connsiteX18" fmla="*/ 1515289 w 6552531"/>
              <a:gd name="connsiteY18" fmla="*/ 1876395 h 4947333"/>
              <a:gd name="connsiteX19" fmla="*/ 2860708 w 6552531"/>
              <a:gd name="connsiteY19" fmla="*/ 1855646 h 4947333"/>
              <a:gd name="connsiteX20" fmla="*/ 3877062 w 6552531"/>
              <a:gd name="connsiteY20" fmla="*/ 691198 h 4947333"/>
              <a:gd name="connsiteX21" fmla="*/ 4633989 w 6552531"/>
              <a:gd name="connsiteY21" fmla="*/ 13545 h 4947333"/>
              <a:gd name="connsiteX22" fmla="*/ 4683323 w 6552531"/>
              <a:gd name="connsiteY22" fmla="*/ 9490 h 4947333"/>
              <a:gd name="connsiteX23" fmla="*/ 4720135 w 6552531"/>
              <a:gd name="connsiteY23" fmla="*/ 11657 h 4947333"/>
              <a:gd name="connsiteX24" fmla="*/ 4746809 w 6552531"/>
              <a:gd name="connsiteY24" fmla="*/ 6469 h 4947333"/>
              <a:gd name="connsiteX25" fmla="*/ 4854063 w 6552531"/>
              <a:gd name="connsiteY25" fmla="*/ 7 h 494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552531" h="4947333">
                <a:moveTo>
                  <a:pt x="4854063" y="7"/>
                </a:moveTo>
                <a:cubicBezTo>
                  <a:pt x="4925952" y="311"/>
                  <a:pt x="4998520" y="9743"/>
                  <a:pt x="5071206" y="27731"/>
                </a:cubicBezTo>
                <a:cubicBezTo>
                  <a:pt x="5652694" y="171645"/>
                  <a:pt x="6241767" y="863160"/>
                  <a:pt x="6551503" y="1809287"/>
                </a:cubicBezTo>
                <a:lnTo>
                  <a:pt x="6552531" y="1812764"/>
                </a:lnTo>
                <a:lnTo>
                  <a:pt x="6552531" y="3922236"/>
                </a:lnTo>
                <a:lnTo>
                  <a:pt x="6508354" y="4056281"/>
                </a:lnTo>
                <a:cubicBezTo>
                  <a:pt x="6420252" y="4303320"/>
                  <a:pt x="6305352" y="4537096"/>
                  <a:pt x="6167266" y="4753897"/>
                </a:cubicBezTo>
                <a:lnTo>
                  <a:pt x="6033717" y="4947333"/>
                </a:lnTo>
                <a:lnTo>
                  <a:pt x="688221" y="4947333"/>
                </a:lnTo>
                <a:lnTo>
                  <a:pt x="669155" y="4921952"/>
                </a:lnTo>
                <a:cubicBezTo>
                  <a:pt x="462010" y="4623316"/>
                  <a:pt x="290452" y="4280274"/>
                  <a:pt x="159446" y="3896401"/>
                </a:cubicBezTo>
                <a:cubicBezTo>
                  <a:pt x="110759" y="3753734"/>
                  <a:pt x="70478" y="3595787"/>
                  <a:pt x="44617" y="3440846"/>
                </a:cubicBezTo>
                <a:lnTo>
                  <a:pt x="40529" y="3406626"/>
                </a:lnTo>
                <a:lnTo>
                  <a:pt x="39476" y="3401514"/>
                </a:lnTo>
                <a:cubicBezTo>
                  <a:pt x="-78551" y="2709645"/>
                  <a:pt x="67748" y="2122061"/>
                  <a:pt x="482859" y="1876033"/>
                </a:cubicBezTo>
                <a:cubicBezTo>
                  <a:pt x="607393" y="1802224"/>
                  <a:pt x="747277" y="1764396"/>
                  <a:pt x="896951" y="1759366"/>
                </a:cubicBezTo>
                <a:cubicBezTo>
                  <a:pt x="1046624" y="1754337"/>
                  <a:pt x="1206087" y="1782107"/>
                  <a:pt x="1369778" y="1839493"/>
                </a:cubicBezTo>
                <a:lnTo>
                  <a:pt x="1408346" y="1854656"/>
                </a:lnTo>
                <a:lnTo>
                  <a:pt x="1515289" y="1876395"/>
                </a:lnTo>
                <a:cubicBezTo>
                  <a:pt x="1867428" y="1960511"/>
                  <a:pt x="2467079" y="2053179"/>
                  <a:pt x="2860708" y="1855646"/>
                </a:cubicBezTo>
                <a:cubicBezTo>
                  <a:pt x="3254336" y="1658114"/>
                  <a:pt x="3625995" y="1062372"/>
                  <a:pt x="3877062" y="691198"/>
                </a:cubicBezTo>
                <a:cubicBezTo>
                  <a:pt x="4155238" y="279949"/>
                  <a:pt x="4374413" y="55026"/>
                  <a:pt x="4633989" y="13545"/>
                </a:cubicBezTo>
                <a:cubicBezTo>
                  <a:pt x="4650213" y="10953"/>
                  <a:pt x="4666671" y="9635"/>
                  <a:pt x="4683323" y="9490"/>
                </a:cubicBezTo>
                <a:lnTo>
                  <a:pt x="4720135" y="11657"/>
                </a:lnTo>
                <a:lnTo>
                  <a:pt x="4746809" y="6469"/>
                </a:lnTo>
                <a:cubicBezTo>
                  <a:pt x="4782344" y="1985"/>
                  <a:pt x="4818118" y="-145"/>
                  <a:pt x="4854063" y="7"/>
                </a:cubicBez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400"/>
          </a:p>
        </p:txBody>
      </p:sp>
      <p:sp>
        <p:nvSpPr>
          <p:cNvPr id="2" name="Titel 1"/>
          <p:cNvSpPr>
            <a:spLocks noGrp="1"/>
          </p:cNvSpPr>
          <p:nvPr>
            <p:ph type="title" hasCustomPrompt="1"/>
          </p:nvPr>
        </p:nvSpPr>
        <p:spPr>
          <a:xfrm>
            <a:off x="4838700" y="3239457"/>
            <a:ext cx="6790944" cy="1097269"/>
          </a:xfrm>
        </p:spPr>
        <p:txBody>
          <a:bodyPr lIns="0" tIns="0" bIns="0" anchor="b">
            <a:normAutofit/>
          </a:bodyPr>
          <a:lstStyle>
            <a:lvl1pPr>
              <a:lnSpc>
                <a:spcPct val="100000"/>
              </a:lnSpc>
              <a:defRPr sz="3200" baseline="0">
                <a:solidFill>
                  <a:schemeClr val="tx2"/>
                </a:solidFill>
              </a:defRPr>
            </a:lvl1pPr>
          </a:lstStyle>
          <a:p>
            <a:r>
              <a:rPr lang="de-DE" dirty="0"/>
              <a:t>Überschrift Titelfolie</a:t>
            </a:r>
            <a:endParaRPr lang="de-CH" dirty="0"/>
          </a:p>
        </p:txBody>
      </p:sp>
      <p:pic>
        <p:nvPicPr>
          <p:cNvPr id="11" name="Grafik 10">
            <a:extLst>
              <a:ext uri="{FF2B5EF4-FFF2-40B4-BE49-F238E27FC236}">
                <a16:creationId xmlns:a16="http://schemas.microsoft.com/office/drawing/2014/main" id="{3F2D6CD5-EBD8-4E95-8859-83C8D04BFA5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926177" y="1533510"/>
            <a:ext cx="2691819" cy="1264388"/>
          </a:xfrm>
          <a:prstGeom prst="rect">
            <a:avLst/>
          </a:prstGeom>
        </p:spPr>
      </p:pic>
      <p:sp>
        <p:nvSpPr>
          <p:cNvPr id="4" name="Datumsplatzhalter 3"/>
          <p:cNvSpPr>
            <a:spLocks noGrp="1"/>
          </p:cNvSpPr>
          <p:nvPr>
            <p:ph type="dt" sz="half" idx="10"/>
          </p:nvPr>
        </p:nvSpPr>
        <p:spPr>
          <a:xfrm>
            <a:off x="4833464" y="5641975"/>
            <a:ext cx="1445099" cy="184666"/>
          </a:xfrm>
          <a:prstGeom prst="rect">
            <a:avLst/>
          </a:prstGeom>
        </p:spPr>
        <p:txBody>
          <a:bodyPr wrap="square" lIns="0" tIns="0" rIns="0" bIns="0" anchor="t" anchorCtr="0">
            <a:spAutoFit/>
          </a:bodyPr>
          <a:lstStyle>
            <a:lvl1pPr algn="l">
              <a:defRPr sz="1200">
                <a:latin typeface="+mn-lt"/>
              </a:defRPr>
            </a:lvl1pPr>
          </a:lstStyle>
          <a:p>
            <a:fld id="{A6485F21-650A-4776-A061-EE7A3A527491}" type="datetime4">
              <a:rPr lang="de-CH" smtClean="0"/>
              <a:t>26. September 2023</a:t>
            </a:fld>
            <a:endParaRPr lang="de-CH" dirty="0"/>
          </a:p>
        </p:txBody>
      </p:sp>
      <p:sp>
        <p:nvSpPr>
          <p:cNvPr id="7" name="Rechteck 6">
            <a:extLst>
              <a:ext uri="{FF2B5EF4-FFF2-40B4-BE49-F238E27FC236}">
                <a16:creationId xmlns:a16="http://schemas.microsoft.com/office/drawing/2014/main" id="{269B772D-4EEB-40F5-B989-5B158C414958}"/>
              </a:ext>
            </a:extLst>
          </p:cNvPr>
          <p:cNvSpPr/>
          <p:nvPr/>
        </p:nvSpPr>
        <p:spPr>
          <a:xfrm>
            <a:off x="0" y="6723258"/>
            <a:ext cx="12198350" cy="14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400"/>
          </a:p>
        </p:txBody>
      </p:sp>
      <p:sp>
        <p:nvSpPr>
          <p:cNvPr id="16" name="Textplatzhalter 14">
            <a:extLst>
              <a:ext uri="{FF2B5EF4-FFF2-40B4-BE49-F238E27FC236}">
                <a16:creationId xmlns:a16="http://schemas.microsoft.com/office/drawing/2014/main" id="{2A818FE7-2817-4CCE-892B-6DE76AF6C55A}"/>
              </a:ext>
            </a:extLst>
          </p:cNvPr>
          <p:cNvSpPr>
            <a:spLocks noGrp="1"/>
          </p:cNvSpPr>
          <p:nvPr>
            <p:ph type="body" sz="quarter" idx="14" hasCustomPrompt="1"/>
          </p:nvPr>
        </p:nvSpPr>
        <p:spPr>
          <a:xfrm>
            <a:off x="4838699" y="6200774"/>
            <a:ext cx="5541757" cy="421346"/>
          </a:xfrm>
          <a:prstGeom prst="rect">
            <a:avLst/>
          </a:prstGeom>
        </p:spPr>
        <p:txBody>
          <a:bodyPr wrap="none" lIns="0" tIns="0" rIns="0" bIns="0">
            <a:noAutofit/>
          </a:bodyPr>
          <a:lstStyle>
            <a:lvl1pPr marL="0" indent="0">
              <a:buNone/>
              <a:defRPr sz="1200">
                <a:latin typeface="+mn-lt"/>
              </a:defRPr>
            </a:lvl1pPr>
          </a:lstStyle>
          <a:p>
            <a:pPr lvl="0"/>
            <a:r>
              <a:rPr lang="de-CH" dirty="0"/>
              <a:t>Departement / Abteilung</a:t>
            </a:r>
          </a:p>
        </p:txBody>
      </p:sp>
      <p:sp>
        <p:nvSpPr>
          <p:cNvPr id="17"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4838700" y="4410388"/>
            <a:ext cx="6790944" cy="860307"/>
          </a:xfrm>
          <a:prstGeom prst="rect">
            <a:avLst/>
          </a:prstGeom>
        </p:spPr>
        <p:txBody>
          <a:bodyPr lIns="0" tIns="0" rIns="0" bIns="0">
            <a:normAutofit/>
          </a:bodyPr>
          <a:lstStyle>
            <a:lvl1pPr marL="0" indent="0">
              <a:buNone/>
              <a:defRPr sz="2000" b="1" baseline="0"/>
            </a:lvl1pPr>
            <a:lvl2pPr marL="457200" indent="0">
              <a:buNone/>
              <a:defRPr/>
            </a:lvl2pPr>
          </a:lstStyle>
          <a:p>
            <a:pPr lvl="0"/>
            <a:r>
              <a:rPr lang="de-DE" dirty="0"/>
              <a:t>Untertitel</a:t>
            </a:r>
          </a:p>
        </p:txBody>
      </p:sp>
      <p:sp>
        <p:nvSpPr>
          <p:cNvPr id="19" name="Textplatzhalter 5"/>
          <p:cNvSpPr>
            <a:spLocks noGrp="1"/>
          </p:cNvSpPr>
          <p:nvPr>
            <p:ph type="body" sz="quarter" idx="20" hasCustomPrompt="1"/>
          </p:nvPr>
        </p:nvSpPr>
        <p:spPr>
          <a:xfrm>
            <a:off x="4833464" y="5342714"/>
            <a:ext cx="5546993" cy="184666"/>
          </a:xfrm>
          <a:prstGeom prst="rect">
            <a:avLst/>
          </a:prstGeom>
        </p:spPr>
        <p:txBody>
          <a:bodyPr wrap="none" lIns="0" tIns="0" rIns="0" bIns="0" anchor="b" anchorCtr="0">
            <a:noAutofit/>
          </a:bodyPr>
          <a:lstStyle>
            <a:lvl1pPr marL="0" marR="0" indent="0" algn="l" defTabSz="609768" rtl="0" eaLnBrk="1" fontAlgn="auto" latinLnBrk="0" hangingPunct="1">
              <a:lnSpc>
                <a:spcPct val="100000"/>
              </a:lnSpc>
              <a:spcBef>
                <a:spcPts val="0"/>
              </a:spcBef>
              <a:spcAft>
                <a:spcPts val="0"/>
              </a:spcAft>
              <a:buClrTx/>
              <a:buSzTx/>
              <a:buFontTx/>
              <a:buNone/>
              <a:tabLst/>
              <a:defRPr sz="1200">
                <a:latin typeface="+mn-lt"/>
              </a:defRPr>
            </a:lvl1pPr>
            <a:lvl2pPr marL="360362" indent="0">
              <a:buNone/>
              <a:defRPr/>
            </a:lvl2pPr>
            <a:lvl3pPr marL="719138" indent="0">
              <a:buNone/>
              <a:defRPr/>
            </a:lvl3pPr>
            <a:lvl4pPr marL="1077912" indent="0">
              <a:buNone/>
              <a:defRPr/>
            </a:lvl4pPr>
            <a:lvl5pPr marL="1438275" indent="0">
              <a:buNone/>
              <a:defRPr/>
            </a:lvl5pPr>
          </a:lstStyle>
          <a:p>
            <a:pPr marL="0" marR="0" lvl="0" indent="0" algn="l" defTabSz="609768"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rPr>
              <a:t>Vorname Nachname</a:t>
            </a:r>
          </a:p>
        </p:txBody>
      </p:sp>
    </p:spTree>
    <p:extLst>
      <p:ext uri="{BB962C8B-B14F-4D97-AF65-F5344CB8AC3E}">
        <p14:creationId xmlns:p14="http://schemas.microsoft.com/office/powerpoint/2010/main" val="324459477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7335">
          <p15:clr>
            <a:srgbClr val="FBAE40"/>
          </p15:clr>
        </p15:guide>
        <p15:guide id="3" pos="304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bg>
      <p:bgPr>
        <a:solidFill>
          <a:schemeClr val="bg1"/>
        </a:solidFill>
        <a:effectLst/>
      </p:bgPr>
    </p:bg>
    <p:spTree>
      <p:nvGrpSpPr>
        <p:cNvPr id="1" name=""/>
        <p:cNvGrpSpPr/>
        <p:nvPr/>
      </p:nvGrpSpPr>
      <p:grpSpPr>
        <a:xfrm>
          <a:off x="0" y="0"/>
          <a:ext cx="0" cy="0"/>
          <a:chOff x="0" y="0"/>
          <a:chExt cx="0" cy="0"/>
        </a:xfrm>
      </p:grpSpPr>
      <p:sp>
        <p:nvSpPr>
          <p:cNvPr id="6" name="Datumsplatzhalter 5"/>
          <p:cNvSpPr>
            <a:spLocks noGrp="1"/>
          </p:cNvSpPr>
          <p:nvPr>
            <p:ph type="dt" sz="half" idx="16"/>
          </p:nvPr>
        </p:nvSpPr>
        <p:spPr/>
        <p:txBody>
          <a:bodyPr/>
          <a:lstStyle/>
          <a:p>
            <a:fld id="{37325766-18B1-41EF-A077-34AA000852B8}" type="datetime4">
              <a:rPr lang="de-CH" smtClean="0"/>
              <a:t>26. September 2023</a:t>
            </a:fld>
            <a:endParaRPr lang="de-CH" dirty="0"/>
          </a:p>
        </p:txBody>
      </p:sp>
      <p:sp>
        <p:nvSpPr>
          <p:cNvPr id="7" name="Fußzeilenplatzhalter 6"/>
          <p:cNvSpPr>
            <a:spLocks noGrp="1"/>
          </p:cNvSpPr>
          <p:nvPr>
            <p:ph type="ftr" sz="quarter" idx="17"/>
          </p:nvPr>
        </p:nvSpPr>
        <p:spPr/>
        <p:txBody>
          <a:bodyPr/>
          <a:lstStyle/>
          <a:p>
            <a:r>
              <a:rPr lang="de-CH"/>
              <a:t>Wissensnugget - Qualität</a:t>
            </a:r>
            <a:endParaRPr lang="de-CH" dirty="0"/>
          </a:p>
        </p:txBody>
      </p:sp>
      <p:sp>
        <p:nvSpPr>
          <p:cNvPr id="8" name="Foliennummernplatzhalter 7"/>
          <p:cNvSpPr>
            <a:spLocks noGrp="1"/>
          </p:cNvSpPr>
          <p:nvPr>
            <p:ph type="sldNum" sz="quarter" idx="18"/>
          </p:nvPr>
        </p:nvSpPr>
        <p:spPr/>
        <p:txBody>
          <a:bodyPr/>
          <a:lstStyle/>
          <a:p>
            <a:fld id="{4EAC321B-7500-4259-A00F-915439A35E15}" type="slidenum">
              <a:rPr lang="de-CH" smtClean="0"/>
              <a:pPr/>
              <a:t>‹Nr.›</a:t>
            </a:fld>
            <a:endParaRPr lang="de-CH" dirty="0"/>
          </a:p>
        </p:txBody>
      </p:sp>
      <p:sp>
        <p:nvSpPr>
          <p:cNvPr id="3" name="Titel 2"/>
          <p:cNvSpPr>
            <a:spLocks noGrp="1"/>
          </p:cNvSpPr>
          <p:nvPr>
            <p:ph type="title"/>
          </p:nvPr>
        </p:nvSpPr>
        <p:spPr/>
        <p:txBody>
          <a:bodyPr/>
          <a:lstStyle/>
          <a:p>
            <a:r>
              <a:rPr lang="de-DE"/>
              <a:t>Mastertitelformat bearbeiten</a:t>
            </a:r>
            <a:endParaRPr lang="de-CH"/>
          </a:p>
        </p:txBody>
      </p:sp>
      <p:sp>
        <p:nvSpPr>
          <p:cNvPr id="10"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449" y="334039"/>
            <a:ext cx="11053764"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hema</a:t>
            </a:r>
          </a:p>
        </p:txBody>
      </p:sp>
    </p:spTree>
    <p:extLst>
      <p:ext uri="{BB962C8B-B14F-4D97-AF65-F5344CB8AC3E}">
        <p14:creationId xmlns:p14="http://schemas.microsoft.com/office/powerpoint/2010/main" val="2476660943"/>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Leer">
    <p:bg>
      <p:bgRef idx="1001">
        <a:schemeClr val="bg1"/>
      </p:bgRef>
    </p:bg>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77221A79-6C3B-4266-9613-AEA7D58A64FA}" type="datetime4">
              <a:rPr lang="de-CH" smtClean="0"/>
              <a:t>26. September 2023</a:t>
            </a:fld>
            <a:endParaRPr lang="de-CH" dirty="0"/>
          </a:p>
        </p:txBody>
      </p:sp>
      <p:sp>
        <p:nvSpPr>
          <p:cNvPr id="3" name="Fußzeilenplatzhalter 2"/>
          <p:cNvSpPr>
            <a:spLocks noGrp="1"/>
          </p:cNvSpPr>
          <p:nvPr>
            <p:ph type="ftr" sz="quarter" idx="11"/>
          </p:nvPr>
        </p:nvSpPr>
        <p:spPr/>
        <p:txBody>
          <a:bodyPr/>
          <a:lstStyle/>
          <a:p>
            <a:r>
              <a:rPr lang="de-CH"/>
              <a:t>Wissensnugget - Qualität</a:t>
            </a:r>
            <a:endParaRPr lang="de-CH" dirty="0"/>
          </a:p>
        </p:txBody>
      </p:sp>
      <p:sp>
        <p:nvSpPr>
          <p:cNvPr id="4" name="Foliennummernplatzhalter 3"/>
          <p:cNvSpPr>
            <a:spLocks noGrp="1"/>
          </p:cNvSpPr>
          <p:nvPr>
            <p:ph type="sldNum" sz="quarter" idx="12"/>
          </p:nvPr>
        </p:nvSpPr>
        <p:spPr/>
        <p:txBody>
          <a:bodyPr/>
          <a:lstStyle/>
          <a:p>
            <a:fld id="{4EAC321B-7500-4259-A00F-915439A35E15}" type="slidenum">
              <a:rPr lang="de-CH" smtClean="0"/>
              <a:pPr/>
              <a:t>‹Nr.›</a:t>
            </a:fld>
            <a:endParaRPr lang="de-CH" dirty="0"/>
          </a:p>
        </p:txBody>
      </p:sp>
    </p:spTree>
    <p:extLst>
      <p:ext uri="{BB962C8B-B14F-4D97-AF65-F5344CB8AC3E}">
        <p14:creationId xmlns:p14="http://schemas.microsoft.com/office/powerpoint/2010/main" val="128421652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Vollbild">
    <p:bg>
      <p:bgRef idx="1001">
        <a:schemeClr val="bg1"/>
      </p:bgRef>
    </p:bg>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F3EE63C2-A670-4809-8D39-93A13CFECC5F}" type="datetime4">
              <a:rPr lang="de-CH" smtClean="0"/>
              <a:t>26. September 2023</a:t>
            </a:fld>
            <a:endParaRPr lang="de-CH" dirty="0"/>
          </a:p>
        </p:txBody>
      </p:sp>
      <p:sp>
        <p:nvSpPr>
          <p:cNvPr id="3" name="Fußzeilenplatzhalter 2"/>
          <p:cNvSpPr>
            <a:spLocks noGrp="1"/>
          </p:cNvSpPr>
          <p:nvPr>
            <p:ph type="ftr" sz="quarter" idx="11"/>
          </p:nvPr>
        </p:nvSpPr>
        <p:spPr/>
        <p:txBody>
          <a:bodyPr/>
          <a:lstStyle/>
          <a:p>
            <a:r>
              <a:rPr lang="de-CH"/>
              <a:t>Wissensnugget - Qualität</a:t>
            </a:r>
            <a:endParaRPr lang="de-CH" dirty="0"/>
          </a:p>
        </p:txBody>
      </p:sp>
      <p:sp>
        <p:nvSpPr>
          <p:cNvPr id="4" name="Foliennummernplatzhalter 3"/>
          <p:cNvSpPr>
            <a:spLocks noGrp="1"/>
          </p:cNvSpPr>
          <p:nvPr>
            <p:ph type="sldNum" sz="quarter" idx="12"/>
          </p:nvPr>
        </p:nvSpPr>
        <p:spPr/>
        <p:txBody>
          <a:bodyPr/>
          <a:lstStyle/>
          <a:p>
            <a:fld id="{4EAC321B-7500-4259-A00F-915439A35E15}" type="slidenum">
              <a:rPr lang="de-CH" smtClean="0"/>
              <a:pPr/>
              <a:t>‹Nr.›</a:t>
            </a:fld>
            <a:endParaRPr lang="de-CH" dirty="0"/>
          </a:p>
        </p:txBody>
      </p:sp>
      <p:sp>
        <p:nvSpPr>
          <p:cNvPr id="7" name="Bildplatzhalter 7"/>
          <p:cNvSpPr>
            <a:spLocks noGrp="1"/>
          </p:cNvSpPr>
          <p:nvPr>
            <p:ph type="pic" sz="quarter" idx="20" hasCustomPrompt="1"/>
          </p:nvPr>
        </p:nvSpPr>
        <p:spPr>
          <a:xfrm>
            <a:off x="0" y="-1"/>
            <a:ext cx="12198350" cy="6200775"/>
          </a:xfrm>
          <a:prstGeom prst="rect">
            <a:avLst/>
          </a:prstGeom>
          <a:solidFill>
            <a:schemeClr val="bg2"/>
          </a:solidFill>
        </p:spPr>
        <p:txBody>
          <a:bodyPr lIns="216000" tIns="108000">
            <a:normAutofit/>
          </a:bodyPr>
          <a:lstStyle>
            <a:lvl1pPr marL="0" indent="0">
              <a:buNone/>
              <a:defRPr sz="2000" baseline="0"/>
            </a:lvl1pPr>
          </a:lstStyle>
          <a:p>
            <a:r>
              <a:rPr lang="de-CH" dirty="0"/>
              <a:t>Bild über das Bild-Icon einfügen</a:t>
            </a:r>
          </a:p>
        </p:txBody>
      </p:sp>
    </p:spTree>
    <p:extLst>
      <p:ext uri="{BB962C8B-B14F-4D97-AF65-F5344CB8AC3E}">
        <p14:creationId xmlns:p14="http://schemas.microsoft.com/office/powerpoint/2010/main" val="1106125157"/>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1878CC-A9F1-4B36-9483-FE099A51559F}"/>
              </a:ext>
            </a:extLst>
          </p:cNvPr>
          <p:cNvSpPr>
            <a:spLocks noGrp="1"/>
          </p:cNvSpPr>
          <p:nvPr>
            <p:ph type="title"/>
          </p:nvPr>
        </p:nvSpPr>
        <p:spPr/>
        <p:txBody>
          <a:bodyPr/>
          <a:lstStyle/>
          <a:p>
            <a:r>
              <a:rPr lang="de-DE"/>
              <a:t>Mastertitelformat bearbeiten</a:t>
            </a:r>
            <a:endParaRPr lang="en-US"/>
          </a:p>
        </p:txBody>
      </p:sp>
      <p:sp>
        <p:nvSpPr>
          <p:cNvPr id="3" name="Date Placeholder 2">
            <a:extLst>
              <a:ext uri="{FF2B5EF4-FFF2-40B4-BE49-F238E27FC236}">
                <a16:creationId xmlns:a16="http://schemas.microsoft.com/office/drawing/2014/main" id="{3FBABA75-87F8-4C79-AAC0-72E146FE9BE5}"/>
              </a:ext>
            </a:extLst>
          </p:cNvPr>
          <p:cNvSpPr>
            <a:spLocks noGrp="1"/>
          </p:cNvSpPr>
          <p:nvPr>
            <p:ph type="dt" sz="half" idx="10"/>
          </p:nvPr>
        </p:nvSpPr>
        <p:spPr/>
        <p:txBody>
          <a:bodyPr/>
          <a:lstStyle/>
          <a:p>
            <a:fld id="{3A69D9E0-8442-4240-9804-893FE5CA7DCB}" type="datetime4">
              <a:rPr lang="de-CH" smtClean="0"/>
              <a:t>26. September 2023</a:t>
            </a:fld>
            <a:endParaRPr lang="en-US"/>
          </a:p>
        </p:txBody>
      </p:sp>
      <p:sp>
        <p:nvSpPr>
          <p:cNvPr id="4" name="Footer Placeholder 3">
            <a:extLst>
              <a:ext uri="{FF2B5EF4-FFF2-40B4-BE49-F238E27FC236}">
                <a16:creationId xmlns:a16="http://schemas.microsoft.com/office/drawing/2014/main" id="{50CA5446-F446-40AC-9D50-E68E3C13F7EF}"/>
              </a:ext>
            </a:extLst>
          </p:cNvPr>
          <p:cNvSpPr>
            <a:spLocks noGrp="1"/>
          </p:cNvSpPr>
          <p:nvPr>
            <p:ph type="ftr" sz="quarter" idx="11"/>
          </p:nvPr>
        </p:nvSpPr>
        <p:spPr/>
        <p:txBody>
          <a:bodyPr/>
          <a:lstStyle/>
          <a:p>
            <a:r>
              <a:rPr lang="en-US"/>
              <a:t>Wissensnugget - Qualität</a:t>
            </a:r>
          </a:p>
        </p:txBody>
      </p:sp>
      <p:sp>
        <p:nvSpPr>
          <p:cNvPr id="5" name="Slide Number Placeholder 4">
            <a:extLst>
              <a:ext uri="{FF2B5EF4-FFF2-40B4-BE49-F238E27FC236}">
                <a16:creationId xmlns:a16="http://schemas.microsoft.com/office/drawing/2014/main" id="{729849F9-D3FB-4961-999E-586F00AE393A}"/>
              </a:ext>
            </a:extLst>
          </p:cNvPr>
          <p:cNvSpPr>
            <a:spLocks noGrp="1"/>
          </p:cNvSpPr>
          <p:nvPr>
            <p:ph type="sldNum" sz="quarter" idx="12"/>
          </p:nvPr>
        </p:nvSpPr>
        <p:spPr/>
        <p:txBody>
          <a:bodyPr/>
          <a:lstStyle/>
          <a:p>
            <a:fld id="{8C5C37AD-8160-4827-8EF6-0CA9F3A6E3CF}" type="slidenum">
              <a:rPr lang="en-US" smtClean="0"/>
              <a:pPr/>
              <a:t>‹Nr.›</a:t>
            </a:fld>
            <a:endParaRPr lang="en-US"/>
          </a:p>
        </p:txBody>
      </p:sp>
    </p:spTree>
    <p:extLst>
      <p:ext uri="{BB962C8B-B14F-4D97-AF65-F5344CB8AC3E}">
        <p14:creationId xmlns:p14="http://schemas.microsoft.com/office/powerpoint/2010/main" val="6394219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bg>
      <p:bgPr>
        <a:solidFill>
          <a:schemeClr val="bg1"/>
        </a:solidFill>
        <a:effectLst/>
      </p:bgPr>
    </p:bg>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3F2D6CD5-EBD8-4E95-8859-83C8D04BFA5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301804" y="5947634"/>
            <a:ext cx="1558409" cy="732008"/>
          </a:xfrm>
          <a:prstGeom prst="rect">
            <a:avLst/>
          </a:prstGeom>
        </p:spPr>
      </p:pic>
      <p:sp>
        <p:nvSpPr>
          <p:cNvPr id="14" name="Bildplatzhalter 13" descr="Hier Titelbild einfügen" title="Titelbild">
            <a:extLst>
              <a:ext uri="{FF2B5EF4-FFF2-40B4-BE49-F238E27FC236}">
                <a16:creationId xmlns:a16="http://schemas.microsoft.com/office/drawing/2014/main" id="{1DE6A71F-9A5B-4F1D-A226-20EDC05C37DC}"/>
              </a:ext>
            </a:extLst>
          </p:cNvPr>
          <p:cNvSpPr>
            <a:spLocks noGrp="1"/>
          </p:cNvSpPr>
          <p:nvPr>
            <p:ph type="pic" sz="quarter" idx="12" hasCustomPrompt="1"/>
          </p:nvPr>
        </p:nvSpPr>
        <p:spPr>
          <a:xfrm>
            <a:off x="0" y="0"/>
            <a:ext cx="12198350" cy="5772670"/>
          </a:xfrm>
          <a:prstGeom prst="rect">
            <a:avLst/>
          </a:prstGeom>
          <a:solidFill>
            <a:schemeClr val="bg2"/>
          </a:solidFill>
        </p:spPr>
        <p:txBody>
          <a:bodyPr lIns="216000" tIns="108000" anchor="t" anchorCtr="0">
            <a:normAutofit/>
          </a:bodyPr>
          <a:lstStyle>
            <a:lvl1pPr marL="0" indent="0">
              <a:buNone/>
              <a:defRPr sz="2000" baseline="0"/>
            </a:lvl1pPr>
          </a:lstStyle>
          <a:p>
            <a:r>
              <a:rPr lang="de-CH" dirty="0"/>
              <a:t>Tipp: Zuerst das Bild einfügen (über das Bild-Icon), dann den Titel eingeben.</a:t>
            </a:r>
          </a:p>
        </p:txBody>
      </p:sp>
      <p:sp>
        <p:nvSpPr>
          <p:cNvPr id="2" name="Titel 1"/>
          <p:cNvSpPr>
            <a:spLocks noGrp="1"/>
          </p:cNvSpPr>
          <p:nvPr>
            <p:ph type="ctrTitle" hasCustomPrompt="1"/>
          </p:nvPr>
        </p:nvSpPr>
        <p:spPr>
          <a:xfrm>
            <a:off x="5338531" y="3427353"/>
            <a:ext cx="5957391" cy="797311"/>
          </a:xfrm>
          <a:solidFill>
            <a:srgbClr val="FFFFFF">
              <a:alpha val="80000"/>
            </a:srgbClr>
          </a:solidFill>
        </p:spPr>
        <p:txBody>
          <a:bodyPr wrap="square" lIns="108000" tIns="72000" rIns="108000" bIns="108000" anchor="b" anchorCtr="0">
            <a:spAutoFit/>
          </a:bodyPr>
          <a:lstStyle>
            <a:lvl1pPr algn="l">
              <a:lnSpc>
                <a:spcPct val="100000"/>
              </a:lnSpc>
              <a:defRPr sz="4000" b="1" baseline="0">
                <a:solidFill>
                  <a:schemeClr val="tx2"/>
                </a:solidFill>
              </a:defRPr>
            </a:lvl1pPr>
          </a:lstStyle>
          <a:p>
            <a:r>
              <a:rPr lang="de-DE" dirty="0"/>
              <a:t>Überschrift Titelfolie</a:t>
            </a:r>
            <a:endParaRPr lang="de-CH" dirty="0"/>
          </a:p>
        </p:txBody>
      </p:sp>
      <p:sp>
        <p:nvSpPr>
          <p:cNvPr id="4" name="Datumsplatzhalter 3"/>
          <p:cNvSpPr>
            <a:spLocks noGrp="1"/>
          </p:cNvSpPr>
          <p:nvPr>
            <p:ph type="dt" sz="half" idx="10"/>
          </p:nvPr>
        </p:nvSpPr>
        <p:spPr>
          <a:xfrm>
            <a:off x="6329363" y="6453187"/>
            <a:ext cx="3377345" cy="179387"/>
          </a:xfrm>
          <a:prstGeom prst="rect">
            <a:avLst/>
          </a:prstGeom>
        </p:spPr>
        <p:txBody>
          <a:bodyPr lIns="0" tIns="0" rIns="0" bIns="0" anchor="b" anchorCtr="0"/>
          <a:lstStyle>
            <a:lvl1pPr algn="l">
              <a:defRPr sz="1200" b="0">
                <a:solidFill>
                  <a:schemeClr val="tx1"/>
                </a:solidFill>
                <a:latin typeface="Arial" panose="020B0604020202020204" pitchFamily="34" charset="0"/>
                <a:cs typeface="Arial" panose="020B0604020202020204" pitchFamily="34" charset="0"/>
              </a:defRPr>
            </a:lvl1pPr>
          </a:lstStyle>
          <a:p>
            <a:fld id="{79242FE9-3FDB-4F1B-8A44-D4EA0E2A194F}" type="datetime4">
              <a:rPr lang="de-CH" smtClean="0"/>
              <a:t>26. September 2023</a:t>
            </a:fld>
            <a:endParaRPr lang="de-CH" dirty="0"/>
          </a:p>
        </p:txBody>
      </p:sp>
      <p:sp>
        <p:nvSpPr>
          <p:cNvPr id="7" name="Textplatzhalter 6">
            <a:extLst>
              <a:ext uri="{FF2B5EF4-FFF2-40B4-BE49-F238E27FC236}">
                <a16:creationId xmlns:a16="http://schemas.microsoft.com/office/drawing/2014/main" id="{A08043DE-5E81-43FD-995B-4B17DF026528}"/>
              </a:ext>
            </a:extLst>
          </p:cNvPr>
          <p:cNvSpPr>
            <a:spLocks noGrp="1"/>
          </p:cNvSpPr>
          <p:nvPr>
            <p:ph type="body" sz="quarter" idx="13" hasCustomPrompt="1"/>
          </p:nvPr>
        </p:nvSpPr>
        <p:spPr>
          <a:xfrm>
            <a:off x="4227514" y="4224664"/>
            <a:ext cx="4064000" cy="489534"/>
          </a:xfrm>
          <a:prstGeom prst="rect">
            <a:avLst/>
          </a:prstGeom>
          <a:solidFill>
            <a:srgbClr val="D72864">
              <a:alpha val="80000"/>
            </a:srgbClr>
          </a:solidFill>
        </p:spPr>
        <p:txBody>
          <a:bodyPr wrap="square" lIns="108000" tIns="72000" rIns="108000" bIns="108000" anchor="t" anchorCtr="0">
            <a:spAutoFit/>
          </a:bodyPr>
          <a:lstStyle>
            <a:lvl1pPr marL="0" indent="0">
              <a:buNone/>
              <a:defRPr sz="2000" baseline="0">
                <a:solidFill>
                  <a:schemeClr val="bg1"/>
                </a:solidFill>
              </a:defRPr>
            </a:lvl1pPr>
            <a:lvl2pPr marL="457200" indent="0">
              <a:buNone/>
              <a:defRPr/>
            </a:lvl2pPr>
          </a:lstStyle>
          <a:p>
            <a:pPr lvl="0"/>
            <a:r>
              <a:rPr lang="de-DE" dirty="0"/>
              <a:t>Untertitel</a:t>
            </a:r>
          </a:p>
        </p:txBody>
      </p:sp>
      <p:sp>
        <p:nvSpPr>
          <p:cNvPr id="6" name="Textplatzhalter 5"/>
          <p:cNvSpPr>
            <a:spLocks noGrp="1"/>
          </p:cNvSpPr>
          <p:nvPr>
            <p:ph type="body" sz="quarter" idx="14" hasCustomPrompt="1"/>
          </p:nvPr>
        </p:nvSpPr>
        <p:spPr>
          <a:xfrm>
            <a:off x="6329363" y="5949950"/>
            <a:ext cx="3365053" cy="503238"/>
          </a:xfrm>
          <a:prstGeom prst="rect">
            <a:avLst/>
          </a:prstGeom>
        </p:spPr>
        <p:txBody>
          <a:bodyPr lIns="0" tIns="0" rIns="0" bIns="0" anchor="t" anchorCtr="0">
            <a:normAutofit/>
          </a:bodyPr>
          <a:lstStyle>
            <a:lvl1pPr marL="0" marR="0" indent="0" algn="l" defTabSz="609768" rtl="0" eaLnBrk="1" fontAlgn="auto" latinLnBrk="0" hangingPunct="1">
              <a:lnSpc>
                <a:spcPct val="100000"/>
              </a:lnSpc>
              <a:spcBef>
                <a:spcPts val="0"/>
              </a:spcBef>
              <a:spcAft>
                <a:spcPts val="0"/>
              </a:spcAft>
              <a:buClrTx/>
              <a:buSzTx/>
              <a:buFontTx/>
              <a:buNone/>
              <a:tabLst/>
              <a:defRPr sz="1200"/>
            </a:lvl1pPr>
            <a:lvl2pPr marL="360362" indent="0">
              <a:buNone/>
              <a:defRPr/>
            </a:lvl2pPr>
            <a:lvl3pPr marL="719138" indent="0">
              <a:buNone/>
              <a:defRPr/>
            </a:lvl3pPr>
            <a:lvl4pPr marL="1077912" indent="0">
              <a:buNone/>
              <a:defRPr/>
            </a:lvl4pPr>
            <a:lvl5pPr marL="1438275" indent="0">
              <a:buNone/>
              <a:defRPr/>
            </a:lvl5pPr>
          </a:lstStyle>
          <a:p>
            <a:pPr marL="0" marR="0" lvl="0" indent="0" algn="l" defTabSz="609768"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rPr>
              <a:t>Vorname Nachname</a:t>
            </a:r>
          </a:p>
        </p:txBody>
      </p:sp>
      <p:sp>
        <p:nvSpPr>
          <p:cNvPr id="10" name="Textplatzhalter 14">
            <a:extLst>
              <a:ext uri="{FF2B5EF4-FFF2-40B4-BE49-F238E27FC236}">
                <a16:creationId xmlns:a16="http://schemas.microsoft.com/office/drawing/2014/main" id="{2A818FE7-2817-4CCE-892B-6DE76AF6C55A}"/>
              </a:ext>
            </a:extLst>
          </p:cNvPr>
          <p:cNvSpPr>
            <a:spLocks noGrp="1"/>
          </p:cNvSpPr>
          <p:nvPr>
            <p:ph type="body" sz="quarter" idx="15" hasCustomPrompt="1"/>
          </p:nvPr>
        </p:nvSpPr>
        <p:spPr>
          <a:xfrm>
            <a:off x="806450" y="5949950"/>
            <a:ext cx="4532081" cy="647700"/>
          </a:xfrm>
          <a:prstGeom prst="rect">
            <a:avLst/>
          </a:prstGeom>
        </p:spPr>
        <p:txBody>
          <a:bodyPr wrap="none" lIns="0" tIns="0" rIns="0" bIns="0">
            <a:noAutofit/>
          </a:bodyPr>
          <a:lstStyle>
            <a:lvl1pPr marL="0" indent="0">
              <a:buNone/>
              <a:defRPr sz="1200">
                <a:latin typeface="+mn-lt"/>
              </a:defRPr>
            </a:lvl1pPr>
          </a:lstStyle>
          <a:p>
            <a:pPr lvl="0"/>
            <a:r>
              <a:rPr lang="de-CH" dirty="0"/>
              <a:t>Departement / Abteilung</a:t>
            </a:r>
          </a:p>
        </p:txBody>
      </p:sp>
    </p:spTree>
    <p:extLst>
      <p:ext uri="{BB962C8B-B14F-4D97-AF65-F5344CB8AC3E}">
        <p14:creationId xmlns:p14="http://schemas.microsoft.com/office/powerpoint/2010/main" val="2044621041"/>
      </p:ext>
    </p:extLst>
  </p:cSld>
  <p:clrMapOvr>
    <a:masterClrMapping/>
  </p:clrMapOvr>
  <p:extLst>
    <p:ext uri="{DCECCB84-F9BA-43D5-87BE-67443E8EF086}">
      <p15:sldGuideLst xmlns:p15="http://schemas.microsoft.com/office/powerpoint/2012/main">
        <p15:guide id="1" pos="7108">
          <p15:clr>
            <a:srgbClr val="FBAE40"/>
          </p15:clr>
        </p15:guide>
        <p15:guide id="2" pos="2663">
          <p15:clr>
            <a:srgbClr val="FBAE40"/>
          </p15:clr>
        </p15:guide>
        <p15:guide id="3" orient="horz" pos="2659">
          <p15:clr>
            <a:srgbClr val="FBAE40"/>
          </p15:clr>
        </p15:guide>
        <p15:guide id="8" pos="5223">
          <p15:clr>
            <a:srgbClr val="FBAE40"/>
          </p15:clr>
        </p15:guide>
        <p15:guide id="9" orient="horz" pos="3748">
          <p15:clr>
            <a:srgbClr val="FBAE40"/>
          </p15:clr>
        </p15:guide>
        <p15:guide id="10" pos="336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bschnittsfolie hoch">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ABC1FD0D-4BD6-40C9-9D88-AB7C14F8B4BE}" type="datetime4">
              <a:rPr lang="de-CH" smtClean="0"/>
              <a:t>26. September 2023</a:t>
            </a:fld>
            <a:endParaRPr lang="de-CH" dirty="0"/>
          </a:p>
        </p:txBody>
      </p:sp>
      <p:sp>
        <p:nvSpPr>
          <p:cNvPr id="4" name="Fußzeilenplatzhalter 3"/>
          <p:cNvSpPr>
            <a:spLocks noGrp="1"/>
          </p:cNvSpPr>
          <p:nvPr>
            <p:ph type="ftr" sz="quarter" idx="11"/>
          </p:nvPr>
        </p:nvSpPr>
        <p:spPr/>
        <p:txBody>
          <a:bodyPr/>
          <a:lstStyle/>
          <a:p>
            <a:r>
              <a:rPr lang="de-CH"/>
              <a:t>Wissensnugget - Qualität</a:t>
            </a:r>
            <a:endParaRPr lang="de-CH" dirty="0"/>
          </a:p>
        </p:txBody>
      </p:sp>
      <p:sp>
        <p:nvSpPr>
          <p:cNvPr id="5" name="Foliennummernplatzhalter 4"/>
          <p:cNvSpPr>
            <a:spLocks noGrp="1"/>
          </p:cNvSpPr>
          <p:nvPr>
            <p:ph type="sldNum" sz="quarter" idx="12"/>
          </p:nvPr>
        </p:nvSpPr>
        <p:spPr/>
        <p:txBody>
          <a:bodyPr/>
          <a:lstStyle/>
          <a:p>
            <a:fld id="{4EAC321B-7500-4259-A00F-915439A35E15}" type="slidenum">
              <a:rPr lang="de-CH" smtClean="0"/>
              <a:pPr/>
              <a:t>‹Nr.›</a:t>
            </a:fld>
            <a:endParaRPr lang="de-CH" dirty="0"/>
          </a:p>
        </p:txBody>
      </p:sp>
      <p:sp>
        <p:nvSpPr>
          <p:cNvPr id="8" name="Bildplatzhalter 7"/>
          <p:cNvSpPr>
            <a:spLocks noGrp="1"/>
          </p:cNvSpPr>
          <p:nvPr>
            <p:ph type="pic" sz="quarter" idx="20" hasCustomPrompt="1"/>
          </p:nvPr>
        </p:nvSpPr>
        <p:spPr>
          <a:xfrm>
            <a:off x="6494462" y="333375"/>
            <a:ext cx="5365751" cy="5867400"/>
          </a:xfrm>
          <a:prstGeom prst="rect">
            <a:avLst/>
          </a:prstGeom>
          <a:solidFill>
            <a:schemeClr val="bg2"/>
          </a:solidFill>
        </p:spPr>
        <p:txBody>
          <a:bodyPr lIns="216000" tIns="108000">
            <a:normAutofit/>
          </a:bodyPr>
          <a:lstStyle>
            <a:lvl1pPr marL="0" indent="0">
              <a:buNone/>
              <a:defRPr sz="2000" baseline="0"/>
            </a:lvl1pPr>
          </a:lstStyle>
          <a:p>
            <a:r>
              <a:rPr lang="de-CH" dirty="0"/>
              <a:t>Bild über das Bild-Icon einfügen</a:t>
            </a:r>
          </a:p>
        </p:txBody>
      </p:sp>
      <p:sp>
        <p:nvSpPr>
          <p:cNvPr id="10"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806449" y="2213149"/>
            <a:ext cx="5364164" cy="1917733"/>
          </a:xfrm>
          <a:prstGeom prst="rect">
            <a:avLst/>
          </a:prstGeom>
        </p:spPr>
        <p:txBody>
          <a:bodyPr lIns="0" tIns="36000" rIns="0" bIns="0">
            <a:noAutofit/>
          </a:bodyPr>
          <a:lstStyle>
            <a:lvl1pPr marL="0" indent="0">
              <a:buNone/>
              <a:defRPr sz="2000" b="1"/>
            </a:lvl1pPr>
            <a:lvl2pPr marL="457200" indent="0">
              <a:buNone/>
              <a:defRPr/>
            </a:lvl2pPr>
          </a:lstStyle>
          <a:p>
            <a:pPr lvl="0"/>
            <a:r>
              <a:rPr lang="de-DE" dirty="0"/>
              <a:t>Untertitel</a:t>
            </a:r>
          </a:p>
        </p:txBody>
      </p:sp>
      <p:sp>
        <p:nvSpPr>
          <p:cNvPr id="11" name="Titel 1"/>
          <p:cNvSpPr>
            <a:spLocks noGrp="1"/>
          </p:cNvSpPr>
          <p:nvPr>
            <p:ph type="title" hasCustomPrompt="1"/>
          </p:nvPr>
        </p:nvSpPr>
        <p:spPr>
          <a:xfrm>
            <a:off x="806450" y="333375"/>
            <a:ext cx="5364163" cy="1835150"/>
          </a:xfrm>
        </p:spPr>
        <p:txBody>
          <a:bodyPr anchor="b" anchorCtr="0">
            <a:noAutofit/>
          </a:bodyPr>
          <a:lstStyle>
            <a:lvl1pPr>
              <a:lnSpc>
                <a:spcPct val="100000"/>
              </a:lnSpc>
              <a:defRPr sz="3200" baseline="0"/>
            </a:lvl1pPr>
          </a:lstStyle>
          <a:p>
            <a:r>
              <a:rPr lang="de-DE" dirty="0"/>
              <a:t>Titel Abschnittsfolie</a:t>
            </a:r>
            <a:endParaRPr lang="de-CH" dirty="0"/>
          </a:p>
        </p:txBody>
      </p:sp>
    </p:spTree>
    <p:extLst>
      <p:ext uri="{BB962C8B-B14F-4D97-AF65-F5344CB8AC3E}">
        <p14:creationId xmlns:p14="http://schemas.microsoft.com/office/powerpoint/2010/main" val="1360501275"/>
      </p:ext>
    </p:extLst>
  </p:cSld>
  <p:clrMapOvr>
    <a:masterClrMapping/>
  </p:clrMapOvr>
  <p:extLst>
    <p:ext uri="{DCECCB84-F9BA-43D5-87BE-67443E8EF086}">
      <p15:sldGuideLst xmlns:p15="http://schemas.microsoft.com/office/powerpoint/2012/main">
        <p15:guide id="1" orient="horz" pos="1389">
          <p15:clr>
            <a:srgbClr val="FBAE40"/>
          </p15:clr>
        </p15:guide>
        <p15:guide id="2" orient="horz" pos="136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bschnittsfolie quer">
    <p:spTree>
      <p:nvGrpSpPr>
        <p:cNvPr id="1" name=""/>
        <p:cNvGrpSpPr/>
        <p:nvPr/>
      </p:nvGrpSpPr>
      <p:grpSpPr>
        <a:xfrm>
          <a:off x="0" y="0"/>
          <a:ext cx="0" cy="0"/>
          <a:chOff x="0" y="0"/>
          <a:chExt cx="0" cy="0"/>
        </a:xfrm>
      </p:grpSpPr>
      <p:sp>
        <p:nvSpPr>
          <p:cNvPr id="9" name="Bildplatzhalter 7"/>
          <p:cNvSpPr>
            <a:spLocks noGrp="1"/>
          </p:cNvSpPr>
          <p:nvPr>
            <p:ph type="pic" sz="quarter" idx="21" hasCustomPrompt="1"/>
          </p:nvPr>
        </p:nvSpPr>
        <p:spPr>
          <a:xfrm>
            <a:off x="0" y="3850783"/>
            <a:ext cx="12198350" cy="2349992"/>
          </a:xfrm>
          <a:prstGeom prst="rect">
            <a:avLst/>
          </a:prstGeom>
          <a:solidFill>
            <a:schemeClr val="bg2"/>
          </a:solidFill>
        </p:spPr>
        <p:txBody>
          <a:bodyPr lIns="216000" tIns="108000">
            <a:normAutofit/>
          </a:bodyPr>
          <a:lstStyle>
            <a:lvl1pPr marL="0" indent="0">
              <a:buNone/>
              <a:defRPr sz="2000" baseline="0"/>
            </a:lvl1pPr>
          </a:lstStyle>
          <a:p>
            <a:r>
              <a:rPr lang="de-CH" dirty="0"/>
              <a:t>Bild über das Bild-Icon einfügen</a:t>
            </a:r>
          </a:p>
        </p:txBody>
      </p:sp>
      <p:sp>
        <p:nvSpPr>
          <p:cNvPr id="2" name="Titel 1"/>
          <p:cNvSpPr>
            <a:spLocks noGrp="1"/>
          </p:cNvSpPr>
          <p:nvPr>
            <p:ph type="title" hasCustomPrompt="1"/>
          </p:nvPr>
        </p:nvSpPr>
        <p:spPr>
          <a:xfrm>
            <a:off x="806450" y="333375"/>
            <a:ext cx="11053763" cy="1835150"/>
          </a:xfrm>
        </p:spPr>
        <p:txBody>
          <a:bodyPr anchor="b" anchorCtr="0">
            <a:noAutofit/>
          </a:bodyPr>
          <a:lstStyle>
            <a:lvl1pPr>
              <a:lnSpc>
                <a:spcPct val="100000"/>
              </a:lnSpc>
              <a:defRPr sz="3200"/>
            </a:lvl1pPr>
          </a:lstStyle>
          <a:p>
            <a:r>
              <a:rPr lang="de-DE" dirty="0"/>
              <a:t>Titel Abschnittsfolie</a:t>
            </a:r>
            <a:endParaRPr lang="de-CH" dirty="0"/>
          </a:p>
        </p:txBody>
      </p:sp>
      <p:sp>
        <p:nvSpPr>
          <p:cNvPr id="3" name="Datumsplatzhalter 2"/>
          <p:cNvSpPr>
            <a:spLocks noGrp="1"/>
          </p:cNvSpPr>
          <p:nvPr>
            <p:ph type="dt" sz="half" idx="10"/>
          </p:nvPr>
        </p:nvSpPr>
        <p:spPr/>
        <p:txBody>
          <a:bodyPr/>
          <a:lstStyle/>
          <a:p>
            <a:fld id="{1BA2F0D5-9030-4CAA-9A3F-6F3CC1F09C7B}" type="datetime4">
              <a:rPr lang="de-CH" smtClean="0"/>
              <a:t>26. September 2023</a:t>
            </a:fld>
            <a:endParaRPr lang="de-CH" dirty="0"/>
          </a:p>
        </p:txBody>
      </p:sp>
      <p:sp>
        <p:nvSpPr>
          <p:cNvPr id="4" name="Fußzeilenplatzhalter 3"/>
          <p:cNvSpPr>
            <a:spLocks noGrp="1"/>
          </p:cNvSpPr>
          <p:nvPr>
            <p:ph type="ftr" sz="quarter" idx="11"/>
          </p:nvPr>
        </p:nvSpPr>
        <p:spPr/>
        <p:txBody>
          <a:bodyPr/>
          <a:lstStyle/>
          <a:p>
            <a:r>
              <a:rPr lang="de-CH"/>
              <a:t>Wissensnugget - Qualität</a:t>
            </a:r>
            <a:endParaRPr lang="de-CH" dirty="0"/>
          </a:p>
        </p:txBody>
      </p:sp>
      <p:sp>
        <p:nvSpPr>
          <p:cNvPr id="5" name="Foliennummernplatzhalter 4"/>
          <p:cNvSpPr>
            <a:spLocks noGrp="1"/>
          </p:cNvSpPr>
          <p:nvPr>
            <p:ph type="sldNum" sz="quarter" idx="12"/>
          </p:nvPr>
        </p:nvSpPr>
        <p:spPr/>
        <p:txBody>
          <a:bodyPr/>
          <a:lstStyle/>
          <a:p>
            <a:fld id="{4EAC321B-7500-4259-A00F-915439A35E15}" type="slidenum">
              <a:rPr lang="de-CH" smtClean="0"/>
              <a:pPr/>
              <a:t>‹Nr.›</a:t>
            </a:fld>
            <a:endParaRPr lang="de-CH" dirty="0"/>
          </a:p>
        </p:txBody>
      </p:sp>
      <p:sp>
        <p:nvSpPr>
          <p:cNvPr id="6"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806450" y="2213149"/>
            <a:ext cx="7371633" cy="1398501"/>
          </a:xfrm>
          <a:prstGeom prst="rect">
            <a:avLst/>
          </a:prstGeom>
        </p:spPr>
        <p:txBody>
          <a:bodyPr lIns="0" tIns="36000" rIns="0" bIns="0">
            <a:noAutofit/>
          </a:bodyPr>
          <a:lstStyle>
            <a:lvl1pPr marL="0" indent="0">
              <a:buNone/>
              <a:defRPr sz="2000" b="1"/>
            </a:lvl1pPr>
            <a:lvl2pPr marL="457200" indent="0">
              <a:buNone/>
              <a:defRPr/>
            </a:lvl2pPr>
          </a:lstStyle>
          <a:p>
            <a:pPr lvl="0"/>
            <a:r>
              <a:rPr lang="de-DE" dirty="0"/>
              <a:t>Untertitel</a:t>
            </a:r>
          </a:p>
        </p:txBody>
      </p:sp>
    </p:spTree>
    <p:extLst>
      <p:ext uri="{BB962C8B-B14F-4D97-AF65-F5344CB8AC3E}">
        <p14:creationId xmlns:p14="http://schemas.microsoft.com/office/powerpoint/2010/main" val="1021904011"/>
      </p:ext>
    </p:extLst>
  </p:cSld>
  <p:clrMapOvr>
    <a:masterClrMapping/>
  </p:clrMapOvr>
  <p:extLst>
    <p:ext uri="{DCECCB84-F9BA-43D5-87BE-67443E8EF086}">
      <p15:sldGuideLst xmlns:p15="http://schemas.microsoft.com/office/powerpoint/2012/main">
        <p15:guide id="1" orient="horz" pos="1389">
          <p15:clr>
            <a:srgbClr val="FBAE40"/>
          </p15:clr>
        </p15:guide>
        <p15:guide id="2" orient="horz" pos="136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rgbClr val="FFFFFF"/>
        </a:solidFill>
        <a:effectLst/>
      </p:bgPr>
    </p:bg>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806450" y="1449387"/>
            <a:ext cx="11053763" cy="4751387"/>
          </a:xfrm>
          <a:prstGeom prst="rect">
            <a:avLst/>
          </a:prstGeom>
        </p:spPr>
        <p:txBody>
          <a:bodyPr numCol="2" spcCol="288000">
            <a:normAutofit/>
          </a:bodyPr>
          <a:lstStyle>
            <a:lvl1pPr marL="342900" marR="0" indent="-342900" algn="l" defTabSz="609768" rtl="0" eaLnBrk="1" fontAlgn="auto" latinLnBrk="0" hangingPunct="1">
              <a:lnSpc>
                <a:spcPct val="120000"/>
              </a:lnSpc>
              <a:spcBef>
                <a:spcPts val="1200"/>
              </a:spcBef>
              <a:spcAft>
                <a:spcPts val="600"/>
              </a:spcAft>
              <a:buClr>
                <a:schemeClr val="tx2"/>
              </a:buClr>
              <a:buSzPct val="120000"/>
              <a:buFont typeface="Arial" panose="020B0604020202020204" pitchFamily="34" charset="0"/>
              <a:buChar char="•"/>
              <a:tabLst/>
              <a:defRPr sz="2000" baseline="0"/>
            </a:lvl1pPr>
            <a:lvl2pPr marL="360363" indent="-360363">
              <a:lnSpc>
                <a:spcPct val="120000"/>
              </a:lnSpc>
              <a:spcBef>
                <a:spcPts val="1200"/>
              </a:spcBef>
              <a:spcAft>
                <a:spcPts val="600"/>
              </a:spcAft>
              <a:buSzPct val="120000"/>
              <a:buFontTx/>
              <a:buBlip>
                <a:blip r:embed="rId2"/>
              </a:buBlip>
              <a:defRPr sz="2000" b="1" baseline="0"/>
            </a:lvl2pPr>
            <a:lvl3pPr marL="628650" indent="-268288">
              <a:lnSpc>
                <a:spcPct val="120000"/>
              </a:lnSpc>
              <a:spcBef>
                <a:spcPts val="0"/>
              </a:spcBef>
              <a:spcAft>
                <a:spcPts val="0"/>
              </a:spcAft>
              <a:buFont typeface="Arial" panose="020B0604020202020204" pitchFamily="34" charset="0"/>
              <a:buChar char="•"/>
              <a:defRPr sz="1600" baseline="0"/>
            </a:lvl3pPr>
            <a:lvl4pPr marL="895350" indent="-206375">
              <a:spcBef>
                <a:spcPts val="400"/>
              </a:spcBef>
              <a:spcAft>
                <a:spcPts val="0"/>
              </a:spcAft>
              <a:defRPr/>
            </a:lvl4pPr>
            <a:lvl5pPr marL="1163638" indent="-230188">
              <a:spcBef>
                <a:spcPts val="400"/>
              </a:spcBef>
              <a:spcAft>
                <a:spcPts val="0"/>
              </a:spcAft>
              <a:defRPr/>
            </a:lvl5pPr>
          </a:lstStyle>
          <a:p>
            <a:pPr lvl="0"/>
            <a:r>
              <a:rPr lang="de-DE" dirty="0"/>
              <a:t>Thema 1 [Ebene 1]</a:t>
            </a:r>
          </a:p>
          <a:p>
            <a:pPr lvl="1"/>
            <a:r>
              <a:rPr lang="de-DE" dirty="0"/>
              <a:t>Thema 2 aktiv [Ebene 2]</a:t>
            </a:r>
          </a:p>
          <a:p>
            <a:pPr lvl="2"/>
            <a:r>
              <a:rPr lang="de-DE" dirty="0"/>
              <a:t>Unterthema 1 [Ebene 3]</a:t>
            </a:r>
          </a:p>
          <a:p>
            <a:pPr lvl="2"/>
            <a:r>
              <a:rPr lang="de-DE" dirty="0"/>
              <a:t>Unterthema 2 [Ebene 3]</a:t>
            </a:r>
          </a:p>
          <a:p>
            <a:pPr marL="342900" marR="0" lvl="0" indent="-342900" algn="l" defTabSz="609768" rtl="0" eaLnBrk="1" fontAlgn="auto" latinLnBrk="0" hangingPunct="1">
              <a:lnSpc>
                <a:spcPct val="120000"/>
              </a:lnSpc>
              <a:spcBef>
                <a:spcPts val="1200"/>
              </a:spcBef>
              <a:spcAft>
                <a:spcPts val="600"/>
              </a:spcAft>
              <a:buClr>
                <a:schemeClr val="tx2"/>
              </a:buClr>
              <a:buSzPct val="120000"/>
              <a:buFont typeface="Arial" panose="020B0604020202020204" pitchFamily="34" charset="0"/>
              <a:buChar char="•"/>
              <a:tabLst/>
              <a:defRPr/>
            </a:pPr>
            <a:r>
              <a:rPr lang="de-DE" dirty="0"/>
              <a:t>Thema 3 [Ebene 1]</a:t>
            </a:r>
          </a:p>
          <a:p>
            <a:pPr lvl="0"/>
            <a:endParaRPr lang="de-DE" dirty="0"/>
          </a:p>
          <a:p>
            <a:pPr lvl="2"/>
            <a:endParaRPr lang="de-DE" dirty="0"/>
          </a:p>
        </p:txBody>
      </p:sp>
      <p:pic>
        <p:nvPicPr>
          <p:cNvPr id="8" name="Grafik 7">
            <a:extLst>
              <a:ext uri="{FF2B5EF4-FFF2-40B4-BE49-F238E27FC236}">
                <a16:creationId xmlns:a16="http://schemas.microsoft.com/office/drawing/2014/main" id="{58E42ADF-F5B2-43B8-AB96-1EFC272BC7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758468" y="6244316"/>
            <a:ext cx="1340225" cy="629524"/>
          </a:xfrm>
          <a:prstGeom prst="rect">
            <a:avLst/>
          </a:prstGeom>
        </p:spPr>
      </p:pic>
      <p:sp>
        <p:nvSpPr>
          <p:cNvPr id="7" name="Titel 6"/>
          <p:cNvSpPr>
            <a:spLocks noGrp="1"/>
          </p:cNvSpPr>
          <p:nvPr>
            <p:ph type="title" hasCustomPrompt="1"/>
          </p:nvPr>
        </p:nvSpPr>
        <p:spPr>
          <a:xfrm>
            <a:off x="806450" y="333376"/>
            <a:ext cx="11053763" cy="287337"/>
          </a:xfrm>
        </p:spPr>
        <p:txBody>
          <a:bodyPr/>
          <a:lstStyle>
            <a:lvl1pPr>
              <a:defRPr lang="de-DE" sz="2000" b="1" kern="1200" baseline="0" smtClean="0">
                <a:solidFill>
                  <a:schemeClr val="tx1"/>
                </a:solidFill>
                <a:latin typeface="+mn-lt"/>
                <a:ea typeface="+mn-ea"/>
                <a:cs typeface="+mn-cs"/>
              </a:defRPr>
            </a:lvl1pPr>
          </a:lstStyle>
          <a:p>
            <a:r>
              <a:rPr lang="de-DE" dirty="0"/>
              <a:t>Agenda-Titel eingeben</a:t>
            </a:r>
            <a:endParaRPr lang="de-CH" dirty="0"/>
          </a:p>
        </p:txBody>
      </p:sp>
    </p:spTree>
    <p:extLst>
      <p:ext uri="{BB962C8B-B14F-4D97-AF65-F5344CB8AC3E}">
        <p14:creationId xmlns:p14="http://schemas.microsoft.com/office/powerpoint/2010/main" val="203043683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Inhalt">
    <p:bg>
      <p:bgPr>
        <a:solidFill>
          <a:schemeClr val="bg1"/>
        </a:solidFill>
        <a:effectLst/>
      </p:bgPr>
    </p:bg>
    <p:spTree>
      <p:nvGrpSpPr>
        <p:cNvPr id="1" name=""/>
        <p:cNvGrpSpPr/>
        <p:nvPr/>
      </p:nvGrpSpPr>
      <p:grpSpPr>
        <a:xfrm>
          <a:off x="0" y="0"/>
          <a:ext cx="0" cy="0"/>
          <a:chOff x="0" y="0"/>
          <a:chExt cx="0" cy="0"/>
        </a:xfrm>
      </p:grpSpPr>
      <p:sp>
        <p:nvSpPr>
          <p:cNvPr id="7" name="Datumsplatzhalter 6"/>
          <p:cNvSpPr>
            <a:spLocks noGrp="1"/>
          </p:cNvSpPr>
          <p:nvPr>
            <p:ph type="dt" sz="half" idx="16"/>
          </p:nvPr>
        </p:nvSpPr>
        <p:spPr/>
        <p:txBody>
          <a:bodyPr/>
          <a:lstStyle/>
          <a:p>
            <a:fld id="{80C9161A-D2E3-4479-8BC8-9F316F438BF6}" type="datetime4">
              <a:rPr lang="de-CH" smtClean="0"/>
              <a:t>26. September 2023</a:t>
            </a:fld>
            <a:endParaRPr lang="de-CH" dirty="0"/>
          </a:p>
        </p:txBody>
      </p:sp>
      <p:sp>
        <p:nvSpPr>
          <p:cNvPr id="8" name="Fußzeilenplatzhalter 7"/>
          <p:cNvSpPr>
            <a:spLocks noGrp="1"/>
          </p:cNvSpPr>
          <p:nvPr>
            <p:ph type="ftr" sz="quarter" idx="17"/>
          </p:nvPr>
        </p:nvSpPr>
        <p:spPr/>
        <p:txBody>
          <a:bodyPr/>
          <a:lstStyle/>
          <a:p>
            <a:r>
              <a:rPr lang="de-CH"/>
              <a:t>Wissensnugget - Qualität</a:t>
            </a:r>
            <a:endParaRPr lang="de-CH" dirty="0"/>
          </a:p>
        </p:txBody>
      </p:sp>
      <p:sp>
        <p:nvSpPr>
          <p:cNvPr id="9" name="Foliennummernplatzhalter 8"/>
          <p:cNvSpPr>
            <a:spLocks noGrp="1"/>
          </p:cNvSpPr>
          <p:nvPr>
            <p:ph type="sldNum" sz="quarter" idx="18"/>
          </p:nvPr>
        </p:nvSpPr>
        <p:spPr/>
        <p:txBody>
          <a:bodyPr/>
          <a:lstStyle/>
          <a:p>
            <a:fld id="{4EAC321B-7500-4259-A00F-915439A35E15}" type="slidenum">
              <a:rPr lang="de-CH" smtClean="0"/>
              <a:pPr/>
              <a:t>‹Nr.›</a:t>
            </a:fld>
            <a:endParaRPr lang="de-CH" dirty="0"/>
          </a:p>
        </p:txBody>
      </p:sp>
      <p:sp>
        <p:nvSpPr>
          <p:cNvPr id="2" name="Titel 1"/>
          <p:cNvSpPr>
            <a:spLocks noGrp="1"/>
          </p:cNvSpPr>
          <p:nvPr>
            <p:ph type="title"/>
          </p:nvPr>
        </p:nvSpPr>
        <p:spPr/>
        <p:txBody>
          <a:bodyPr/>
          <a:lstStyle/>
          <a:p>
            <a:r>
              <a:rPr lang="de-DE"/>
              <a:t>Mastertitelformat bearbeiten</a:t>
            </a:r>
            <a:endParaRPr lang="de-CH" dirty="0"/>
          </a:p>
        </p:txBody>
      </p:sp>
      <p:sp>
        <p:nvSpPr>
          <p:cNvPr id="5" name="Inhaltsplatzhalter 4"/>
          <p:cNvSpPr>
            <a:spLocks noGrp="1"/>
          </p:cNvSpPr>
          <p:nvPr>
            <p:ph sz="quarter" idx="21"/>
          </p:nvPr>
        </p:nvSpPr>
        <p:spPr>
          <a:xfrm>
            <a:off x="806450" y="1449388"/>
            <a:ext cx="11053763" cy="47513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dirty="0"/>
          </a:p>
        </p:txBody>
      </p:sp>
      <p:sp>
        <p:nvSpPr>
          <p:cNvPr id="11"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449" y="334039"/>
            <a:ext cx="11053764"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hema</a:t>
            </a:r>
          </a:p>
        </p:txBody>
      </p:sp>
    </p:spTree>
    <p:extLst>
      <p:ext uri="{BB962C8B-B14F-4D97-AF65-F5344CB8AC3E}">
        <p14:creationId xmlns:p14="http://schemas.microsoft.com/office/powerpoint/2010/main" val="193327563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Inhalte">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4131235C-D8D6-4B15-8D8B-25090EEB4674}" type="datetime4">
              <a:rPr lang="de-CH" smtClean="0"/>
              <a:t>26. September 2023</a:t>
            </a:fld>
            <a:endParaRPr lang="de-CH" dirty="0"/>
          </a:p>
        </p:txBody>
      </p:sp>
      <p:sp>
        <p:nvSpPr>
          <p:cNvPr id="4" name="Fußzeilenplatzhalter 3"/>
          <p:cNvSpPr>
            <a:spLocks noGrp="1"/>
          </p:cNvSpPr>
          <p:nvPr>
            <p:ph type="ftr" sz="quarter" idx="11"/>
          </p:nvPr>
        </p:nvSpPr>
        <p:spPr/>
        <p:txBody>
          <a:bodyPr/>
          <a:lstStyle/>
          <a:p>
            <a:r>
              <a:rPr lang="de-CH"/>
              <a:t>Wissensnugget - Qualität</a:t>
            </a:r>
            <a:endParaRPr lang="de-CH" dirty="0"/>
          </a:p>
        </p:txBody>
      </p:sp>
      <p:sp>
        <p:nvSpPr>
          <p:cNvPr id="5" name="Foliennummernplatzhalter 4"/>
          <p:cNvSpPr>
            <a:spLocks noGrp="1"/>
          </p:cNvSpPr>
          <p:nvPr>
            <p:ph type="sldNum" sz="quarter" idx="12"/>
          </p:nvPr>
        </p:nvSpPr>
        <p:spPr/>
        <p:txBody>
          <a:bodyPr/>
          <a:lstStyle/>
          <a:p>
            <a:fld id="{4EAC321B-7500-4259-A00F-915439A35E15}" type="slidenum">
              <a:rPr lang="de-CH" smtClean="0"/>
              <a:pPr/>
              <a:t>‹Nr.›</a:t>
            </a:fld>
            <a:endParaRPr lang="de-CH" dirty="0"/>
          </a:p>
        </p:txBody>
      </p:sp>
      <p:sp>
        <p:nvSpPr>
          <p:cNvPr id="2" name="Titel 1"/>
          <p:cNvSpPr>
            <a:spLocks noGrp="1"/>
          </p:cNvSpPr>
          <p:nvPr>
            <p:ph type="title"/>
          </p:nvPr>
        </p:nvSpPr>
        <p:spPr>
          <a:xfrm>
            <a:off x="806450" y="692150"/>
            <a:ext cx="11053763" cy="684213"/>
          </a:xfrm>
        </p:spPr>
        <p:txBody>
          <a:bodyPr/>
          <a:lstStyle/>
          <a:p>
            <a:r>
              <a:rPr lang="de-DE"/>
              <a:t>Mastertitelformat bearbeiten</a:t>
            </a:r>
            <a:endParaRPr lang="de-CH" dirty="0"/>
          </a:p>
        </p:txBody>
      </p:sp>
      <p:sp>
        <p:nvSpPr>
          <p:cNvPr id="9" name="Textplatzhalter 16">
            <a:extLst>
              <a:ext uri="{FF2B5EF4-FFF2-40B4-BE49-F238E27FC236}">
                <a16:creationId xmlns:a16="http://schemas.microsoft.com/office/drawing/2014/main" id="{19B420C7-7824-4382-99B3-E842F4995AC4}"/>
              </a:ext>
            </a:extLst>
          </p:cNvPr>
          <p:cNvSpPr>
            <a:spLocks noGrp="1"/>
          </p:cNvSpPr>
          <p:nvPr>
            <p:ph type="body" sz="quarter" idx="25" hasCustomPrompt="1"/>
          </p:nvPr>
        </p:nvSpPr>
        <p:spPr>
          <a:xfrm>
            <a:off x="806449" y="334039"/>
            <a:ext cx="11053764"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hema</a:t>
            </a:r>
          </a:p>
        </p:txBody>
      </p:sp>
      <p:sp>
        <p:nvSpPr>
          <p:cNvPr id="7" name="Inhaltsplatzhalter 6"/>
          <p:cNvSpPr>
            <a:spLocks noGrp="1"/>
          </p:cNvSpPr>
          <p:nvPr>
            <p:ph sz="quarter" idx="26"/>
          </p:nvPr>
        </p:nvSpPr>
        <p:spPr>
          <a:xfrm>
            <a:off x="806450" y="1449388"/>
            <a:ext cx="5364163" cy="47513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Inhaltsplatzhalter 6"/>
          <p:cNvSpPr>
            <a:spLocks noGrp="1"/>
          </p:cNvSpPr>
          <p:nvPr>
            <p:ph sz="quarter" idx="27"/>
          </p:nvPr>
        </p:nvSpPr>
        <p:spPr>
          <a:xfrm>
            <a:off x="6496050" y="1449388"/>
            <a:ext cx="5364163" cy="47513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199768549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rgleich">
    <p:bg>
      <p:bgPr>
        <a:solidFill>
          <a:schemeClr val="bg1"/>
        </a:solidFill>
        <a:effectLst/>
      </p:bgPr>
    </p:bg>
    <p:spTree>
      <p:nvGrpSpPr>
        <p:cNvPr id="1" name=""/>
        <p:cNvGrpSpPr/>
        <p:nvPr/>
      </p:nvGrpSpPr>
      <p:grpSpPr>
        <a:xfrm>
          <a:off x="0" y="0"/>
          <a:ext cx="0" cy="0"/>
          <a:chOff x="0" y="0"/>
          <a:chExt cx="0" cy="0"/>
        </a:xfrm>
      </p:grpSpPr>
      <p:sp>
        <p:nvSpPr>
          <p:cNvPr id="6" name="Datumsplatzhalter 5"/>
          <p:cNvSpPr>
            <a:spLocks noGrp="1"/>
          </p:cNvSpPr>
          <p:nvPr>
            <p:ph type="dt" sz="half" idx="16"/>
          </p:nvPr>
        </p:nvSpPr>
        <p:spPr/>
        <p:txBody>
          <a:bodyPr/>
          <a:lstStyle/>
          <a:p>
            <a:fld id="{36728B66-1065-4E27-9C8D-1490F639E035}" type="datetime4">
              <a:rPr lang="de-CH" smtClean="0"/>
              <a:t>26. September 2023</a:t>
            </a:fld>
            <a:endParaRPr lang="de-CH" dirty="0"/>
          </a:p>
        </p:txBody>
      </p:sp>
      <p:sp>
        <p:nvSpPr>
          <p:cNvPr id="7" name="Fußzeilenplatzhalter 6"/>
          <p:cNvSpPr>
            <a:spLocks noGrp="1"/>
          </p:cNvSpPr>
          <p:nvPr>
            <p:ph type="ftr" sz="quarter" idx="17"/>
          </p:nvPr>
        </p:nvSpPr>
        <p:spPr/>
        <p:txBody>
          <a:bodyPr/>
          <a:lstStyle/>
          <a:p>
            <a:r>
              <a:rPr lang="de-CH"/>
              <a:t>Wissensnugget - Qualität</a:t>
            </a:r>
            <a:endParaRPr lang="de-CH" dirty="0"/>
          </a:p>
        </p:txBody>
      </p:sp>
      <p:sp>
        <p:nvSpPr>
          <p:cNvPr id="8" name="Foliennummernplatzhalter 7"/>
          <p:cNvSpPr>
            <a:spLocks noGrp="1"/>
          </p:cNvSpPr>
          <p:nvPr>
            <p:ph type="sldNum" sz="quarter" idx="18"/>
          </p:nvPr>
        </p:nvSpPr>
        <p:spPr/>
        <p:txBody>
          <a:bodyPr/>
          <a:lstStyle/>
          <a:p>
            <a:fld id="{4EAC321B-7500-4259-A00F-915439A35E15}" type="slidenum">
              <a:rPr lang="de-CH" smtClean="0"/>
              <a:pPr/>
              <a:t>‹Nr.›</a:t>
            </a:fld>
            <a:endParaRPr lang="de-CH" dirty="0"/>
          </a:p>
        </p:txBody>
      </p:sp>
      <p:sp>
        <p:nvSpPr>
          <p:cNvPr id="14" name="Textplatzhalter 16">
            <a:extLst>
              <a:ext uri="{FF2B5EF4-FFF2-40B4-BE49-F238E27FC236}">
                <a16:creationId xmlns:a16="http://schemas.microsoft.com/office/drawing/2014/main" id="{19B420C7-7824-4382-99B3-E842F4995AC4}"/>
              </a:ext>
            </a:extLst>
          </p:cNvPr>
          <p:cNvSpPr>
            <a:spLocks noGrp="1"/>
          </p:cNvSpPr>
          <p:nvPr>
            <p:ph type="body" sz="quarter" idx="20" hasCustomPrompt="1"/>
          </p:nvPr>
        </p:nvSpPr>
        <p:spPr>
          <a:xfrm>
            <a:off x="806451" y="1449388"/>
            <a:ext cx="5364576" cy="358775"/>
          </a:xfrm>
          <a:prstGeom prst="rect">
            <a:avLst/>
          </a:prstGeom>
        </p:spPr>
        <p:txBody>
          <a:bodyPr tIns="0" bIns="0" anchor="ctr" anchorCtr="0">
            <a:normAutofit/>
          </a:bodyPr>
          <a:lstStyle>
            <a:lvl1pPr marL="0" indent="0">
              <a:buNone/>
              <a:defRPr sz="2000" b="1"/>
            </a:lvl1pPr>
            <a:lvl2pPr marL="457200" indent="0">
              <a:buNone/>
              <a:defRPr/>
            </a:lvl2pPr>
          </a:lstStyle>
          <a:p>
            <a:pPr lvl="0"/>
            <a:r>
              <a:rPr lang="de-DE" dirty="0"/>
              <a:t>Überschrift</a:t>
            </a:r>
          </a:p>
        </p:txBody>
      </p:sp>
      <p:sp>
        <p:nvSpPr>
          <p:cNvPr id="11" name="Textplatzhalter 16">
            <a:extLst>
              <a:ext uri="{FF2B5EF4-FFF2-40B4-BE49-F238E27FC236}">
                <a16:creationId xmlns:a16="http://schemas.microsoft.com/office/drawing/2014/main" id="{19B420C7-7824-4382-99B3-E842F4995AC4}"/>
              </a:ext>
            </a:extLst>
          </p:cNvPr>
          <p:cNvSpPr>
            <a:spLocks noGrp="1"/>
          </p:cNvSpPr>
          <p:nvPr>
            <p:ph type="body" sz="quarter" idx="22" hasCustomPrompt="1"/>
          </p:nvPr>
        </p:nvSpPr>
        <p:spPr>
          <a:xfrm>
            <a:off x="6505072" y="1449388"/>
            <a:ext cx="5353967" cy="358775"/>
          </a:xfrm>
          <a:prstGeom prst="rect">
            <a:avLst/>
          </a:prstGeom>
        </p:spPr>
        <p:txBody>
          <a:bodyPr tIns="0" bIns="0" anchor="ctr" anchorCtr="0">
            <a:normAutofit/>
          </a:bodyPr>
          <a:lstStyle>
            <a:lvl1pPr marL="0" indent="0">
              <a:buNone/>
              <a:defRPr sz="2000" b="1"/>
            </a:lvl1pPr>
            <a:lvl2pPr marL="457200" indent="0">
              <a:buNone/>
              <a:defRPr/>
            </a:lvl2pPr>
          </a:lstStyle>
          <a:p>
            <a:pPr lvl="0"/>
            <a:r>
              <a:rPr lang="de-DE" dirty="0"/>
              <a:t>Überschrift</a:t>
            </a:r>
          </a:p>
        </p:txBody>
      </p:sp>
      <p:sp>
        <p:nvSpPr>
          <p:cNvPr id="10"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449" y="334039"/>
            <a:ext cx="11053764"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hema</a:t>
            </a:r>
          </a:p>
        </p:txBody>
      </p:sp>
      <p:sp>
        <p:nvSpPr>
          <p:cNvPr id="2" name="Titel 1"/>
          <p:cNvSpPr>
            <a:spLocks noGrp="1"/>
          </p:cNvSpPr>
          <p:nvPr>
            <p:ph type="title"/>
          </p:nvPr>
        </p:nvSpPr>
        <p:spPr/>
        <p:txBody>
          <a:bodyPr/>
          <a:lstStyle/>
          <a:p>
            <a:r>
              <a:rPr lang="de-DE"/>
              <a:t>Mastertitelformat bearbeiten</a:t>
            </a:r>
            <a:endParaRPr lang="de-CH"/>
          </a:p>
        </p:txBody>
      </p:sp>
      <p:sp>
        <p:nvSpPr>
          <p:cNvPr id="5" name="Inhaltsplatzhalter 4"/>
          <p:cNvSpPr>
            <a:spLocks noGrp="1"/>
          </p:cNvSpPr>
          <p:nvPr>
            <p:ph sz="quarter" idx="25"/>
          </p:nvPr>
        </p:nvSpPr>
        <p:spPr>
          <a:xfrm>
            <a:off x="806450" y="1881188"/>
            <a:ext cx="5364163" cy="43195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5" name="Inhaltsplatzhalter 4"/>
          <p:cNvSpPr>
            <a:spLocks noGrp="1"/>
          </p:cNvSpPr>
          <p:nvPr>
            <p:ph sz="quarter" idx="26"/>
          </p:nvPr>
        </p:nvSpPr>
        <p:spPr>
          <a:xfrm>
            <a:off x="6494463" y="1881188"/>
            <a:ext cx="5364163" cy="43195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556247809"/>
      </p:ext>
    </p:extLst>
  </p:cSld>
  <p:clrMapOvr>
    <a:masterClrMapping/>
  </p:clrMapOvr>
  <p:extLst>
    <p:ext uri="{DCECCB84-F9BA-43D5-87BE-67443E8EF086}">
      <p15:sldGuideLst xmlns:p15="http://schemas.microsoft.com/office/powerpoint/2012/main">
        <p15:guide id="1" orient="horz" pos="1185">
          <p15:clr>
            <a:srgbClr val="FBAE40"/>
          </p15:clr>
        </p15:guide>
        <p15:guide id="2" orient="horz" pos="113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und Bild hoch">
    <p:spTree>
      <p:nvGrpSpPr>
        <p:cNvPr id="1" name=""/>
        <p:cNvGrpSpPr/>
        <p:nvPr/>
      </p:nvGrpSpPr>
      <p:grpSpPr>
        <a:xfrm>
          <a:off x="0" y="0"/>
          <a:ext cx="0" cy="0"/>
          <a:chOff x="0" y="0"/>
          <a:chExt cx="0" cy="0"/>
        </a:xfrm>
      </p:grpSpPr>
      <p:sp>
        <p:nvSpPr>
          <p:cNvPr id="10" name="Bildplatzhalter 7"/>
          <p:cNvSpPr>
            <a:spLocks noGrp="1"/>
          </p:cNvSpPr>
          <p:nvPr>
            <p:ph type="pic" sz="quarter" idx="21" hasCustomPrompt="1"/>
          </p:nvPr>
        </p:nvSpPr>
        <p:spPr>
          <a:xfrm>
            <a:off x="7431782" y="333375"/>
            <a:ext cx="4428432" cy="5867400"/>
          </a:xfrm>
          <a:prstGeom prst="rect">
            <a:avLst/>
          </a:prstGeom>
          <a:solidFill>
            <a:schemeClr val="bg2"/>
          </a:solidFill>
        </p:spPr>
        <p:txBody>
          <a:bodyPr lIns="216000" tIns="108000">
            <a:normAutofit/>
          </a:bodyPr>
          <a:lstStyle>
            <a:lvl1pPr marL="0" indent="0">
              <a:buNone/>
              <a:defRPr sz="2000" baseline="0"/>
            </a:lvl1pPr>
          </a:lstStyle>
          <a:p>
            <a:r>
              <a:rPr lang="de-CH" dirty="0"/>
              <a:t>Bild über das Bild-Icon einfügen</a:t>
            </a:r>
          </a:p>
        </p:txBody>
      </p:sp>
      <p:sp>
        <p:nvSpPr>
          <p:cNvPr id="3" name="Datumsplatzhalter 2"/>
          <p:cNvSpPr>
            <a:spLocks noGrp="1"/>
          </p:cNvSpPr>
          <p:nvPr>
            <p:ph type="dt" sz="half" idx="10"/>
          </p:nvPr>
        </p:nvSpPr>
        <p:spPr/>
        <p:txBody>
          <a:bodyPr/>
          <a:lstStyle/>
          <a:p>
            <a:fld id="{1AEAE1E7-AC52-4CE3-8909-35E28362A60E}" type="datetime4">
              <a:rPr lang="de-CH" smtClean="0"/>
              <a:t>26. September 2023</a:t>
            </a:fld>
            <a:endParaRPr lang="de-CH" dirty="0"/>
          </a:p>
        </p:txBody>
      </p:sp>
      <p:sp>
        <p:nvSpPr>
          <p:cNvPr id="4" name="Fußzeilenplatzhalter 3"/>
          <p:cNvSpPr>
            <a:spLocks noGrp="1"/>
          </p:cNvSpPr>
          <p:nvPr>
            <p:ph type="ftr" sz="quarter" idx="11"/>
          </p:nvPr>
        </p:nvSpPr>
        <p:spPr/>
        <p:txBody>
          <a:bodyPr/>
          <a:lstStyle/>
          <a:p>
            <a:r>
              <a:rPr lang="de-CH"/>
              <a:t>Wissensnugget - Qualität</a:t>
            </a:r>
            <a:endParaRPr lang="de-CH" dirty="0"/>
          </a:p>
        </p:txBody>
      </p:sp>
      <p:sp>
        <p:nvSpPr>
          <p:cNvPr id="5" name="Foliennummernplatzhalter 4"/>
          <p:cNvSpPr>
            <a:spLocks noGrp="1"/>
          </p:cNvSpPr>
          <p:nvPr>
            <p:ph type="sldNum" sz="quarter" idx="12"/>
          </p:nvPr>
        </p:nvSpPr>
        <p:spPr/>
        <p:txBody>
          <a:bodyPr/>
          <a:lstStyle/>
          <a:p>
            <a:fld id="{4EAC321B-7500-4259-A00F-915439A35E15}" type="slidenum">
              <a:rPr lang="de-CH" smtClean="0"/>
              <a:pPr/>
              <a:t>‹Nr.›</a:t>
            </a:fld>
            <a:endParaRPr lang="de-CH" dirty="0"/>
          </a:p>
        </p:txBody>
      </p:sp>
      <p:sp>
        <p:nvSpPr>
          <p:cNvPr id="11" name="Inhaltsplatzhalter 10"/>
          <p:cNvSpPr>
            <a:spLocks noGrp="1"/>
          </p:cNvSpPr>
          <p:nvPr>
            <p:ph sz="quarter" idx="22"/>
          </p:nvPr>
        </p:nvSpPr>
        <p:spPr>
          <a:xfrm>
            <a:off x="806450" y="1449388"/>
            <a:ext cx="6337300" cy="47513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449" y="334039"/>
            <a:ext cx="6337301" cy="286673"/>
          </a:xfrm>
          <a:prstGeom prst="rect">
            <a:avLst/>
          </a:prstGeom>
        </p:spPr>
        <p:txBody>
          <a:bodyPr lIns="0" tIns="0" rIns="0" bIns="0" anchor="ctr" anchorCtr="0">
            <a:normAutofit/>
          </a:bodyPr>
          <a:lstStyle>
            <a:lvl1pPr marL="0" indent="0">
              <a:buNone/>
              <a:defRPr sz="2000" b="1"/>
            </a:lvl1pPr>
            <a:lvl2pPr marL="457200" indent="0">
              <a:buNone/>
              <a:defRPr/>
            </a:lvl2pPr>
          </a:lstStyle>
          <a:p>
            <a:pPr lvl="0"/>
            <a:r>
              <a:rPr lang="de-DE" dirty="0"/>
              <a:t>Thema</a:t>
            </a:r>
          </a:p>
        </p:txBody>
      </p:sp>
      <p:sp>
        <p:nvSpPr>
          <p:cNvPr id="2" name="Titel 1"/>
          <p:cNvSpPr>
            <a:spLocks noGrp="1"/>
          </p:cNvSpPr>
          <p:nvPr>
            <p:ph type="title"/>
          </p:nvPr>
        </p:nvSpPr>
        <p:spPr>
          <a:xfrm>
            <a:off x="806451" y="692150"/>
            <a:ext cx="6337300" cy="684213"/>
          </a:xfrm>
        </p:spPr>
        <p:txBody>
          <a:bodyPr/>
          <a:lstStyle>
            <a:lvl1pPr>
              <a:lnSpc>
                <a:spcPct val="100000"/>
              </a:lnSpc>
              <a:defRPr sz="2800"/>
            </a:lvl1pPr>
          </a:lstStyle>
          <a:p>
            <a:r>
              <a:rPr lang="de-DE"/>
              <a:t>Mastertitelformat bearbeiten</a:t>
            </a:r>
            <a:endParaRPr lang="de-CH" dirty="0"/>
          </a:p>
        </p:txBody>
      </p:sp>
    </p:spTree>
    <p:extLst>
      <p:ext uri="{BB962C8B-B14F-4D97-AF65-F5344CB8AC3E}">
        <p14:creationId xmlns:p14="http://schemas.microsoft.com/office/powerpoint/2010/main" val="3022903062"/>
      </p:ext>
    </p:extLst>
  </p:cSld>
  <p:clrMapOvr>
    <a:masterClrMapping/>
  </p:clrMapOvr>
  <p:extLst>
    <p:ext uri="{DCECCB84-F9BA-43D5-87BE-67443E8EF086}">
      <p15:sldGuideLst xmlns:p15="http://schemas.microsoft.com/office/powerpoint/2012/main">
        <p15:guide id="1" pos="450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A650A54-56AB-8154-6435-7F8F8908E2AE}"/>
              </a:ext>
            </a:extLst>
          </p:cNvPr>
          <p:cNvGraphicFramePr>
            <a:graphicFrameLocks noChangeAspect="1"/>
          </p:cNvGraphicFramePr>
          <p:nvPr userDrawn="1">
            <p:custDataLst>
              <p:tags r:id="rId15"/>
            </p:custDataLst>
            <p:extLst>
              <p:ext uri="{D42A27DB-BD31-4B8C-83A1-F6EECF244321}">
                <p14:modId xmlns:p14="http://schemas.microsoft.com/office/powerpoint/2010/main" val="4122575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6" imgW="425" imgH="426" progId="TCLayout.ActiveDocument.1">
                  <p:embed/>
                </p:oleObj>
              </mc:Choice>
              <mc:Fallback>
                <p:oleObj name="think-cell Folie" r:id="rId16" imgW="425" imgH="426" progId="TCLayout.ActiveDocument.1">
                  <p:embed/>
                  <p:pic>
                    <p:nvPicPr>
                      <p:cNvPr id="4" name="think-cell data - do not delete" hidden="1">
                        <a:extLst>
                          <a:ext uri="{FF2B5EF4-FFF2-40B4-BE49-F238E27FC236}">
                            <a16:creationId xmlns:a16="http://schemas.microsoft.com/office/drawing/2014/main" id="{1A650A54-56AB-8154-6435-7F8F8908E2AE}"/>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7" name="Titelplatzhalter 1"/>
          <p:cNvSpPr>
            <a:spLocks noGrp="1"/>
          </p:cNvSpPr>
          <p:nvPr>
            <p:ph type="title"/>
          </p:nvPr>
        </p:nvSpPr>
        <p:spPr>
          <a:xfrm>
            <a:off x="806450" y="692150"/>
            <a:ext cx="11053763" cy="684213"/>
          </a:xfrm>
          <a:prstGeom prst="rect">
            <a:avLst/>
          </a:prstGeom>
        </p:spPr>
        <p:txBody>
          <a:bodyPr vert="horz" lIns="0" tIns="0" rIns="0" bIns="0" rtlCol="0" anchor="ctr" anchorCtr="0">
            <a:normAutofit/>
          </a:bodyPr>
          <a:lstStyle/>
          <a:p>
            <a:r>
              <a:rPr lang="de-DE" dirty="0"/>
              <a:t>Titel Inhaltsfolie einzeilig</a:t>
            </a:r>
            <a:endParaRPr lang="de-CH" dirty="0"/>
          </a:p>
        </p:txBody>
      </p:sp>
      <p:cxnSp>
        <p:nvCxnSpPr>
          <p:cNvPr id="49" name="Gerader Verbinder 48">
            <a:extLst>
              <a:ext uri="{FF2B5EF4-FFF2-40B4-BE49-F238E27FC236}">
                <a16:creationId xmlns:a16="http://schemas.microsoft.com/office/drawing/2014/main" id="{DCCF8EB6-970F-4B91-8E46-5B6411EAA2E4}"/>
              </a:ext>
            </a:extLst>
          </p:cNvPr>
          <p:cNvCxnSpPr>
            <a:cxnSpLocks/>
          </p:cNvCxnSpPr>
          <p:nvPr/>
        </p:nvCxnSpPr>
        <p:spPr>
          <a:xfrm>
            <a:off x="802958" y="6454845"/>
            <a:ext cx="5875" cy="403155"/>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51" name="Datumsplatzhalter 2">
            <a:extLst>
              <a:ext uri="{FF2B5EF4-FFF2-40B4-BE49-F238E27FC236}">
                <a16:creationId xmlns:a16="http://schemas.microsoft.com/office/drawing/2014/main" id="{DD859570-9479-4CD6-9E5E-B8BCB591EFE1}"/>
              </a:ext>
            </a:extLst>
          </p:cNvPr>
          <p:cNvSpPr>
            <a:spLocks noGrp="1"/>
          </p:cNvSpPr>
          <p:nvPr>
            <p:ph type="dt" sz="half" idx="2"/>
          </p:nvPr>
        </p:nvSpPr>
        <p:spPr>
          <a:xfrm>
            <a:off x="6494464" y="6453187"/>
            <a:ext cx="3376650" cy="179388"/>
          </a:xfrm>
          <a:prstGeom prst="rect">
            <a:avLst/>
          </a:prstGeom>
        </p:spPr>
        <p:txBody>
          <a:bodyPr lIns="0" tIns="0" rIns="0" bIns="0"/>
          <a:lstStyle>
            <a:lvl1pPr algn="l">
              <a:defRPr sz="1200"/>
            </a:lvl1pPr>
          </a:lstStyle>
          <a:p>
            <a:fld id="{14B8DD3F-3B80-4E95-ACFA-F1FB97EEA19F}" type="datetime4">
              <a:rPr lang="de-CH" smtClean="0"/>
              <a:t>26. September 2023</a:t>
            </a:fld>
            <a:endParaRPr lang="de-CH" dirty="0"/>
          </a:p>
        </p:txBody>
      </p:sp>
      <p:sp>
        <p:nvSpPr>
          <p:cNvPr id="52" name="Fußzeilenplatzhalter 3">
            <a:extLst>
              <a:ext uri="{FF2B5EF4-FFF2-40B4-BE49-F238E27FC236}">
                <a16:creationId xmlns:a16="http://schemas.microsoft.com/office/drawing/2014/main" id="{2A1BCD4E-392B-40D0-9259-9419E76355F1}"/>
              </a:ext>
            </a:extLst>
          </p:cNvPr>
          <p:cNvSpPr>
            <a:spLocks noGrp="1"/>
          </p:cNvSpPr>
          <p:nvPr>
            <p:ph type="ftr" sz="quarter" idx="3"/>
          </p:nvPr>
        </p:nvSpPr>
        <p:spPr>
          <a:xfrm>
            <a:off x="806450" y="6454845"/>
            <a:ext cx="5364163" cy="332663"/>
          </a:xfrm>
          <a:prstGeom prst="rect">
            <a:avLst/>
          </a:prstGeom>
        </p:spPr>
        <p:txBody>
          <a:bodyPr lIns="108000" tIns="0" rIns="0" bIns="0"/>
          <a:lstStyle>
            <a:lvl1pPr algn="l">
              <a:defRPr sz="1200"/>
            </a:lvl1pPr>
          </a:lstStyle>
          <a:p>
            <a:r>
              <a:rPr lang="de-CH"/>
              <a:t>Wissensnugget - Qualität</a:t>
            </a:r>
            <a:endParaRPr lang="de-CH" dirty="0"/>
          </a:p>
        </p:txBody>
      </p:sp>
      <p:sp>
        <p:nvSpPr>
          <p:cNvPr id="53" name="Foliennummernplatzhalter 4">
            <a:extLst>
              <a:ext uri="{FF2B5EF4-FFF2-40B4-BE49-F238E27FC236}">
                <a16:creationId xmlns:a16="http://schemas.microsoft.com/office/drawing/2014/main" id="{F6E723C3-915C-402C-9570-E97A66A840F5}"/>
              </a:ext>
            </a:extLst>
          </p:cNvPr>
          <p:cNvSpPr>
            <a:spLocks noGrp="1"/>
          </p:cNvSpPr>
          <p:nvPr>
            <p:ph type="sldNum" sz="quarter" idx="4"/>
          </p:nvPr>
        </p:nvSpPr>
        <p:spPr>
          <a:xfrm>
            <a:off x="268996" y="6453187"/>
            <a:ext cx="537454" cy="179387"/>
          </a:xfrm>
          <a:prstGeom prst="rect">
            <a:avLst/>
          </a:prstGeom>
        </p:spPr>
        <p:txBody>
          <a:bodyPr lIns="0" tIns="0" rIns="108000" bIns="0"/>
          <a:lstStyle>
            <a:lvl1pPr algn="r">
              <a:defRPr sz="1200">
                <a:solidFill>
                  <a:schemeClr val="tx1"/>
                </a:solidFill>
              </a:defRPr>
            </a:lvl1pPr>
          </a:lstStyle>
          <a:p>
            <a:fld id="{4EAC321B-7500-4259-A00F-915439A35E15}" type="slidenum">
              <a:rPr lang="de-CH" smtClean="0"/>
              <a:pPr/>
              <a:t>‹Nr.›</a:t>
            </a:fld>
            <a:endParaRPr lang="de-CH" dirty="0"/>
          </a:p>
        </p:txBody>
      </p:sp>
      <p:pic>
        <p:nvPicPr>
          <p:cNvPr id="10" name="Grafik 9">
            <a:extLst>
              <a:ext uri="{FF2B5EF4-FFF2-40B4-BE49-F238E27FC236}">
                <a16:creationId xmlns:a16="http://schemas.microsoft.com/office/drawing/2014/main" id="{58E42ADF-F5B2-43B8-AB96-1EFC272BC700}"/>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0758468" y="6244316"/>
            <a:ext cx="1340225" cy="629524"/>
          </a:xfrm>
          <a:prstGeom prst="rect">
            <a:avLst/>
          </a:prstGeom>
        </p:spPr>
      </p:pic>
      <p:sp>
        <p:nvSpPr>
          <p:cNvPr id="2" name="Textplatzhalter 1"/>
          <p:cNvSpPr>
            <a:spLocks noGrp="1"/>
          </p:cNvSpPr>
          <p:nvPr>
            <p:ph type="body" idx="1"/>
          </p:nvPr>
        </p:nvSpPr>
        <p:spPr>
          <a:xfrm>
            <a:off x="802958" y="1449388"/>
            <a:ext cx="11057254" cy="4751387"/>
          </a:xfrm>
          <a:prstGeom prst="rect">
            <a:avLst/>
          </a:prstGeom>
        </p:spPr>
        <p:txBody>
          <a:bodyPr vert="horz" lIns="0" tIns="0" rIns="0" bIns="0" rtlCol="0">
            <a:normAutofit/>
          </a:bodyPr>
          <a:lstStyle/>
          <a:p>
            <a:pPr lvl="0"/>
            <a:r>
              <a:rPr lang="de-DE" dirty="0"/>
              <a:t>Erste Eben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4"/>
            <a:endParaRPr lang="de-DE" dirty="0"/>
          </a:p>
        </p:txBody>
      </p:sp>
    </p:spTree>
    <p:extLst>
      <p:ext uri="{BB962C8B-B14F-4D97-AF65-F5344CB8AC3E}">
        <p14:creationId xmlns:p14="http://schemas.microsoft.com/office/powerpoint/2010/main" val="3256726509"/>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Lst>
  <p:hf hdr="0"/>
  <p:txStyles>
    <p:titleStyle>
      <a:lvl1pPr algn="l" defTabSz="609768" rtl="0" eaLnBrk="1" latinLnBrk="0" hangingPunct="1">
        <a:lnSpc>
          <a:spcPct val="120000"/>
        </a:lnSpc>
        <a:spcBef>
          <a:spcPct val="0"/>
        </a:spcBef>
        <a:buNone/>
        <a:defRPr sz="3200" b="1" kern="1200" baseline="0">
          <a:solidFill>
            <a:schemeClr val="tx2"/>
          </a:solidFill>
          <a:latin typeface="+mj-lt"/>
          <a:ea typeface="+mj-ea"/>
          <a:cs typeface="+mj-cs"/>
        </a:defRPr>
      </a:lvl1pPr>
    </p:titleStyle>
    <p:bodyStyle>
      <a:lvl1pPr marL="252000" indent="-252000" algn="l" defTabSz="609768" rtl="0" eaLnBrk="1" latinLnBrk="0" hangingPunct="1">
        <a:lnSpc>
          <a:spcPct val="110000"/>
        </a:lnSpc>
        <a:spcBef>
          <a:spcPts val="1200"/>
        </a:spcBef>
        <a:spcAft>
          <a:spcPts val="0"/>
        </a:spcAft>
        <a:buClr>
          <a:schemeClr val="tx2"/>
        </a:buClr>
        <a:buFont typeface="Arial" panose="020B0604020202020204" pitchFamily="34" charset="0"/>
        <a:buChar char="•"/>
        <a:defRPr sz="2000" kern="1200">
          <a:solidFill>
            <a:schemeClr val="tx1"/>
          </a:solidFill>
          <a:latin typeface="+mn-lt"/>
          <a:ea typeface="+mn-ea"/>
          <a:cs typeface="+mn-cs"/>
        </a:defRPr>
      </a:lvl1pPr>
      <a:lvl2pPr marL="504000" indent="-252000" algn="l" defTabSz="609768" rtl="0" eaLnBrk="1" latinLnBrk="0" hangingPunct="1">
        <a:lnSpc>
          <a:spcPct val="110000"/>
        </a:lnSpc>
        <a:spcBef>
          <a:spcPts val="1200"/>
        </a:spcBef>
        <a:spcAft>
          <a:spcPts val="0"/>
        </a:spcAft>
        <a:buClr>
          <a:schemeClr val="tx1"/>
        </a:buClr>
        <a:buSzPct val="80000"/>
        <a:buFont typeface="Arial" panose="020B0604020202020204" pitchFamily="34" charset="0"/>
        <a:buChar char="•"/>
        <a:defRPr sz="1800" kern="1200">
          <a:solidFill>
            <a:schemeClr val="tx1"/>
          </a:solidFill>
          <a:latin typeface="+mn-lt"/>
          <a:ea typeface="+mn-ea"/>
          <a:cs typeface="+mn-cs"/>
        </a:defRPr>
      </a:lvl2pPr>
      <a:lvl3pPr marL="756000" indent="-252000" algn="l" defTabSz="609768" rtl="0" eaLnBrk="1" latinLnBrk="0" hangingPunct="1">
        <a:lnSpc>
          <a:spcPct val="110000"/>
        </a:lnSpc>
        <a:spcBef>
          <a:spcPts val="1200"/>
        </a:spcBef>
        <a:spcAft>
          <a:spcPts val="0"/>
        </a:spcAft>
        <a:buSzPct val="90000"/>
        <a:buFont typeface="Symbol" panose="05050102010706020507" pitchFamily="18" charset="2"/>
        <a:buChar char="-"/>
        <a:defRPr sz="1600" kern="1200">
          <a:solidFill>
            <a:schemeClr val="tx1"/>
          </a:solidFill>
          <a:latin typeface="+mn-lt"/>
          <a:ea typeface="+mn-ea"/>
          <a:cs typeface="+mn-cs"/>
        </a:defRPr>
      </a:lvl3pPr>
      <a:lvl4pPr marL="1008000" indent="-252000" algn="l" defTabSz="609768" rtl="0" eaLnBrk="1" latinLnBrk="0" hangingPunct="1">
        <a:lnSpc>
          <a:spcPct val="110000"/>
        </a:lnSpc>
        <a:spcBef>
          <a:spcPts val="1200"/>
        </a:spcBef>
        <a:spcAft>
          <a:spcPts val="0"/>
        </a:spcAft>
        <a:buFont typeface="Symbol" panose="05050102010706020507" pitchFamily="18" charset="2"/>
        <a:buChar char="-"/>
        <a:defRPr sz="1600" kern="1200">
          <a:solidFill>
            <a:schemeClr val="tx1"/>
          </a:solidFill>
          <a:latin typeface="+mn-lt"/>
          <a:ea typeface="+mn-ea"/>
          <a:cs typeface="+mn-cs"/>
        </a:defRPr>
      </a:lvl4pPr>
      <a:lvl5pPr marL="1260000" marR="0" indent="-252000" algn="l" defTabSz="609768" rtl="0" eaLnBrk="1" fontAlgn="auto" latinLnBrk="0" hangingPunct="1">
        <a:lnSpc>
          <a:spcPct val="110000"/>
        </a:lnSpc>
        <a:spcBef>
          <a:spcPts val="1200"/>
        </a:spcBef>
        <a:spcAft>
          <a:spcPts val="0"/>
        </a:spcAft>
        <a:buClrTx/>
        <a:buSzTx/>
        <a:buFont typeface="Symbol" panose="05050102010706020507" pitchFamily="18" charset="2"/>
        <a:buChar char="-"/>
        <a:tabLst/>
        <a:defRPr sz="1600" kern="1200">
          <a:solidFill>
            <a:schemeClr val="tx1"/>
          </a:solidFill>
          <a:latin typeface="+mn-lt"/>
          <a:ea typeface="+mn-ea"/>
          <a:cs typeface="+mn-cs"/>
        </a:defRPr>
      </a:lvl5pPr>
      <a:lvl6pPr marL="1512000" indent="-252000" algn="l" defTabSz="611188" rtl="0" eaLnBrk="1" latinLnBrk="0" hangingPunct="1">
        <a:lnSpc>
          <a:spcPct val="110000"/>
        </a:lnSpc>
        <a:spcBef>
          <a:spcPts val="1200"/>
        </a:spcBef>
        <a:spcAft>
          <a:spcPts val="0"/>
        </a:spcAft>
        <a:buFont typeface="Symbol" panose="05050102010706020507" pitchFamily="18" charset="2"/>
        <a:buChar char="-"/>
        <a:defRPr sz="1600" kern="1200" baseline="0">
          <a:solidFill>
            <a:schemeClr val="tx1"/>
          </a:solidFill>
          <a:latin typeface="+mn-lt"/>
          <a:ea typeface="+mn-ea"/>
          <a:cs typeface="+mn-cs"/>
        </a:defRPr>
      </a:lvl6pPr>
      <a:lvl7pPr marL="1764000" indent="-252000" algn="l" defTabSz="609768" rtl="0" eaLnBrk="1" latinLnBrk="0" hangingPunct="1">
        <a:lnSpc>
          <a:spcPct val="110000"/>
        </a:lnSpc>
        <a:spcBef>
          <a:spcPts val="1200"/>
        </a:spcBef>
        <a:spcAft>
          <a:spcPts val="0"/>
        </a:spcAft>
        <a:buFont typeface="Symbol" panose="05050102010706020507" pitchFamily="18" charset="2"/>
        <a:buChar char="-"/>
        <a:defRPr sz="1600" kern="1200">
          <a:solidFill>
            <a:schemeClr val="tx1"/>
          </a:solidFill>
          <a:latin typeface="+mn-lt"/>
          <a:ea typeface="+mn-ea"/>
          <a:cs typeface="+mn-cs"/>
        </a:defRPr>
      </a:lvl7pPr>
      <a:lvl8pPr marL="4573257" indent="-304884" algn="l" defTabSz="609768" rtl="0" eaLnBrk="1" latinLnBrk="0" hangingPunct="1">
        <a:spcBef>
          <a:spcPct val="20000"/>
        </a:spcBef>
        <a:buFont typeface="Arial"/>
        <a:buChar char="•"/>
        <a:defRPr sz="2700" kern="1200">
          <a:solidFill>
            <a:schemeClr val="tx1"/>
          </a:solidFill>
          <a:latin typeface="+mn-lt"/>
          <a:ea typeface="+mn-ea"/>
          <a:cs typeface="+mn-cs"/>
        </a:defRPr>
      </a:lvl8pPr>
      <a:lvl9pPr marL="5183025" indent="-304884" algn="l" defTabSz="609768"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de-DE"/>
      </a:defPPr>
      <a:lvl1pPr marL="0" algn="l" defTabSz="609768" rtl="0" eaLnBrk="1" latinLnBrk="0" hangingPunct="1">
        <a:defRPr sz="1400" kern="1200">
          <a:solidFill>
            <a:schemeClr val="tx1"/>
          </a:solidFill>
          <a:latin typeface="+mn-lt"/>
          <a:ea typeface="+mn-ea"/>
          <a:cs typeface="+mn-cs"/>
        </a:defRPr>
      </a:lvl1pPr>
      <a:lvl2pPr marL="609768" algn="l" defTabSz="609768" rtl="0" eaLnBrk="1" latinLnBrk="0" hangingPunct="1">
        <a:defRPr sz="1400" kern="1200">
          <a:solidFill>
            <a:schemeClr val="tx1"/>
          </a:solidFill>
          <a:latin typeface="+mn-lt"/>
          <a:ea typeface="+mn-ea"/>
          <a:cs typeface="+mn-cs"/>
        </a:defRPr>
      </a:lvl2pPr>
      <a:lvl3pPr marL="1219535" algn="l" defTabSz="609768" rtl="0" eaLnBrk="1" latinLnBrk="0" hangingPunct="1">
        <a:defRPr sz="1400" kern="1200">
          <a:solidFill>
            <a:schemeClr val="tx1"/>
          </a:solidFill>
          <a:latin typeface="+mn-lt"/>
          <a:ea typeface="+mn-ea"/>
          <a:cs typeface="+mn-cs"/>
        </a:defRPr>
      </a:lvl3pPr>
      <a:lvl4pPr marL="1829303" algn="l" defTabSz="609768" rtl="0" eaLnBrk="1" latinLnBrk="0" hangingPunct="1">
        <a:defRPr sz="1400" kern="1200">
          <a:solidFill>
            <a:schemeClr val="tx1"/>
          </a:solidFill>
          <a:latin typeface="+mn-lt"/>
          <a:ea typeface="+mn-ea"/>
          <a:cs typeface="+mn-cs"/>
        </a:defRPr>
      </a:lvl4pPr>
      <a:lvl5pPr marL="2439071" algn="l" defTabSz="609768" rtl="0" eaLnBrk="1" latinLnBrk="0" hangingPunct="1">
        <a:defRPr sz="1400" kern="1200">
          <a:solidFill>
            <a:schemeClr val="tx1"/>
          </a:solidFill>
          <a:latin typeface="+mn-lt"/>
          <a:ea typeface="+mn-ea"/>
          <a:cs typeface="+mn-cs"/>
        </a:defRPr>
      </a:lvl5pPr>
      <a:lvl6pPr marL="3048838" algn="l" defTabSz="609768" rtl="0" eaLnBrk="1" latinLnBrk="0" hangingPunct="1">
        <a:defRPr sz="1400" kern="1200">
          <a:solidFill>
            <a:schemeClr val="tx1"/>
          </a:solidFill>
          <a:latin typeface="+mn-lt"/>
          <a:ea typeface="+mn-ea"/>
          <a:cs typeface="+mn-cs"/>
        </a:defRPr>
      </a:lvl6pPr>
      <a:lvl7pPr marL="3658606" algn="l" defTabSz="609768" rtl="0" eaLnBrk="1" latinLnBrk="0" hangingPunct="1">
        <a:defRPr sz="1400" kern="1200">
          <a:solidFill>
            <a:schemeClr val="tx1"/>
          </a:solidFill>
          <a:latin typeface="+mn-lt"/>
          <a:ea typeface="+mn-ea"/>
          <a:cs typeface="+mn-cs"/>
        </a:defRPr>
      </a:lvl7pPr>
      <a:lvl8pPr marL="4268373" algn="l" defTabSz="609768" rtl="0" eaLnBrk="1" latinLnBrk="0" hangingPunct="1">
        <a:defRPr sz="1400" kern="1200">
          <a:solidFill>
            <a:schemeClr val="tx1"/>
          </a:solidFill>
          <a:latin typeface="+mn-lt"/>
          <a:ea typeface="+mn-ea"/>
          <a:cs typeface="+mn-cs"/>
        </a:defRPr>
      </a:lvl8pPr>
      <a:lvl9pPr marL="4878141" algn="l" defTabSz="609768"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6" pos="508">
          <p15:clr>
            <a:srgbClr val="547EBF"/>
          </p15:clr>
        </p15:guide>
        <p15:guide id="7" pos="7471">
          <p15:clr>
            <a:srgbClr val="547EBF"/>
          </p15:clr>
        </p15:guide>
        <p15:guide id="8" orient="horz" pos="210">
          <p15:clr>
            <a:srgbClr val="547EBF"/>
          </p15:clr>
        </p15:guide>
        <p15:guide id="9" orient="horz" pos="4065">
          <p15:clr>
            <a:srgbClr val="C35EA4"/>
          </p15:clr>
        </p15:guide>
        <p15:guide id="10" orient="horz" pos="4156" userDrawn="1">
          <p15:clr>
            <a:srgbClr val="547EBF"/>
          </p15:clr>
        </p15:guide>
        <p15:guide id="12" orient="horz" pos="391">
          <p15:clr>
            <a:srgbClr val="C35EA4"/>
          </p15:clr>
        </p15:guide>
        <p15:guide id="13" orient="horz" pos="913">
          <p15:clr>
            <a:srgbClr val="C35EA4"/>
          </p15:clr>
        </p15:guide>
        <p15:guide id="14" orient="horz" pos="3906">
          <p15:clr>
            <a:srgbClr val="C35EA4"/>
          </p15:clr>
        </p15:guide>
        <p15:guide id="15" pos="3987">
          <p15:clr>
            <a:srgbClr val="9FCC3B"/>
          </p15:clr>
        </p15:guide>
        <p15:guide id="16" pos="4091">
          <p15:clr>
            <a:srgbClr val="C35EA4"/>
          </p15:clr>
        </p15:guide>
        <p15:guide id="17" pos="3887">
          <p15:clr>
            <a:srgbClr val="C35EA4"/>
          </p15:clr>
        </p15:guide>
        <p15:guide id="18" orient="horz" pos="867">
          <p15:clr>
            <a:srgbClr val="C35EA4"/>
          </p15:clr>
        </p15:guide>
        <p15:guide id="19" orient="horz" pos="436">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10.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6.xml"/><Relationship Id="rId1" Type="http://schemas.openxmlformats.org/officeDocument/2006/relationships/tags" Target="../tags/tag11.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7.xml"/><Relationship Id="rId1" Type="http://schemas.openxmlformats.org/officeDocument/2006/relationships/tags" Target="../tags/tag12.xml"/><Relationship Id="rId5" Type="http://schemas.openxmlformats.org/officeDocument/2006/relationships/image" Target="../media/image16.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6.xml"/><Relationship Id="rId1" Type="http://schemas.openxmlformats.org/officeDocument/2006/relationships/tags" Target="../tags/tag13.xml"/><Relationship Id="rId5" Type="http://schemas.openxmlformats.org/officeDocument/2006/relationships/image" Target="../media/image17.jp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6.xml"/><Relationship Id="rId1" Type="http://schemas.openxmlformats.org/officeDocument/2006/relationships/tags" Target="../tags/tag14.xml"/><Relationship Id="rId5" Type="http://schemas.openxmlformats.org/officeDocument/2006/relationships/image" Target="../media/image17.jp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6.xml"/><Relationship Id="rId1" Type="http://schemas.openxmlformats.org/officeDocument/2006/relationships/tags" Target="../tags/tag15.xml"/><Relationship Id="rId5" Type="http://schemas.openxmlformats.org/officeDocument/2006/relationships/image" Target="../media/image18.jp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image" Target="../media/image19.emf"/><Relationship Id="rId5" Type="http://schemas.openxmlformats.org/officeDocument/2006/relationships/oleObject" Target="../embeddings/oleObject16.bin"/><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6.xml"/><Relationship Id="rId1" Type="http://schemas.openxmlformats.org/officeDocument/2006/relationships/tags" Target="../tags/tag17.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6.xml"/><Relationship Id="rId1" Type="http://schemas.openxmlformats.org/officeDocument/2006/relationships/tags" Target="../tags/tag18.xml"/><Relationship Id="rId5" Type="http://schemas.openxmlformats.org/officeDocument/2006/relationships/image" Target="../media/image20.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tags" Target="../tags/tag3.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6.xml"/><Relationship Id="rId1" Type="http://schemas.openxmlformats.org/officeDocument/2006/relationships/tags" Target="../tags/tag20.xml"/><Relationship Id="rId5" Type="http://schemas.openxmlformats.org/officeDocument/2006/relationships/image" Target="../media/image22.jp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oleObject" Target="../embeddings/oleObject21.bin"/><Relationship Id="rId7" Type="http://schemas.openxmlformats.org/officeDocument/2006/relationships/hyperlink" Target="https://marvelapp.com/" TargetMode="External"/><Relationship Id="rId2" Type="http://schemas.openxmlformats.org/officeDocument/2006/relationships/slideLayout" Target="../slideLayouts/slideLayout6.xml"/><Relationship Id="rId1" Type="http://schemas.openxmlformats.org/officeDocument/2006/relationships/tags" Target="../tags/tag21.xml"/><Relationship Id="rId6" Type="http://schemas.openxmlformats.org/officeDocument/2006/relationships/hyperlink" Target="https://balsamiq.com/" TargetMode="External"/><Relationship Id="rId5" Type="http://schemas.openxmlformats.org/officeDocument/2006/relationships/hyperlink" Target="https://miro.com/de/templates/low-fidelity-prototype/" TargetMode="Externa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oleObject" Target="../embeddings/oleObject22.bin"/><Relationship Id="rId7" Type="http://schemas.microsoft.com/office/2007/relationships/hdphoto" Target="../media/hdphoto1.wdp"/><Relationship Id="rId2" Type="http://schemas.openxmlformats.org/officeDocument/2006/relationships/slideLayout" Target="../slideLayouts/slideLayout6.xml"/><Relationship Id="rId1" Type="http://schemas.openxmlformats.org/officeDocument/2006/relationships/tags" Target="../tags/tag2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1.emf"/><Relationship Id="rId9" Type="http://schemas.microsoft.com/office/2007/relationships/hdphoto" Target="../media/hdphoto2.wdp"/></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6.xml"/><Relationship Id="rId1" Type="http://schemas.openxmlformats.org/officeDocument/2006/relationships/tags" Target="../tags/tag23.x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6.xml"/><Relationship Id="rId1" Type="http://schemas.openxmlformats.org/officeDocument/2006/relationships/tags" Target="../tags/tag24.xml"/><Relationship Id="rId5" Type="http://schemas.openxmlformats.org/officeDocument/2006/relationships/image" Target="../media/image29.png"/><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6.xml"/><Relationship Id="rId1" Type="http://schemas.openxmlformats.org/officeDocument/2006/relationships/tags" Target="../tags/tag25.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6.xml"/><Relationship Id="rId1" Type="http://schemas.openxmlformats.org/officeDocument/2006/relationships/tags" Target="../tags/tag27.xml"/><Relationship Id="rId5" Type="http://schemas.openxmlformats.org/officeDocument/2006/relationships/image" Target="../media/image31.png"/><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6.xml"/><Relationship Id="rId1" Type="http://schemas.openxmlformats.org/officeDocument/2006/relationships/tags" Target="../tags/tag28.xml"/><Relationship Id="rId5" Type="http://schemas.openxmlformats.org/officeDocument/2006/relationships/image" Target="../media/image32.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6.xml"/><Relationship Id="rId1" Type="http://schemas.openxmlformats.org/officeDocument/2006/relationships/tags" Target="../tags/tag4.xml"/><Relationship Id="rId5" Type="http://schemas.openxmlformats.org/officeDocument/2006/relationships/image" Target="../media/image7.jpe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6.xml"/><Relationship Id="rId1" Type="http://schemas.openxmlformats.org/officeDocument/2006/relationships/tags" Target="../tags/tag29.xml"/><Relationship Id="rId5" Type="http://schemas.openxmlformats.org/officeDocument/2006/relationships/image" Target="../media/image33.png"/><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6.xml"/><Relationship Id="rId1" Type="http://schemas.openxmlformats.org/officeDocument/2006/relationships/tags" Target="../tags/tag30.xml"/><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6.xml"/><Relationship Id="rId1" Type="http://schemas.openxmlformats.org/officeDocument/2006/relationships/tags" Target="../tags/tag31.xml"/><Relationship Id="rId5" Type="http://schemas.openxmlformats.org/officeDocument/2006/relationships/image" Target="../media/image34.png"/><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6.xml"/><Relationship Id="rId1" Type="http://schemas.openxmlformats.org/officeDocument/2006/relationships/tags" Target="../tags/tag32.xml"/><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33.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6.xml"/><Relationship Id="rId1" Type="http://schemas.openxmlformats.org/officeDocument/2006/relationships/tags" Target="../tags/tag34.xml"/><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7.xml"/><Relationship Id="rId7" Type="http://schemas.openxmlformats.org/officeDocument/2006/relationships/image" Target="../media/image37.png"/><Relationship Id="rId2" Type="http://schemas.openxmlformats.org/officeDocument/2006/relationships/slideLayout" Target="../slideLayouts/slideLayout13.xml"/><Relationship Id="rId1" Type="http://schemas.openxmlformats.org/officeDocument/2006/relationships/tags" Target="../tags/tag35.x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35.bin"/><Relationship Id="rId9" Type="http://schemas.openxmlformats.org/officeDocument/2006/relationships/image" Target="../media/image39.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6.xml"/><Relationship Id="rId1" Type="http://schemas.openxmlformats.org/officeDocument/2006/relationships/tags" Target="../tags/tag37.xml"/><Relationship Id="rId5" Type="http://schemas.openxmlformats.org/officeDocument/2006/relationships/image" Target="../media/image40.pn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38.xml"/><Relationship Id="rId6" Type="http://schemas.openxmlformats.org/officeDocument/2006/relationships/image" Target="../media/image41.pn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6.xml"/><Relationship Id="rId1" Type="http://schemas.openxmlformats.org/officeDocument/2006/relationships/tags" Target="../tags/tag5.xml"/><Relationship Id="rId5" Type="http://schemas.openxmlformats.org/officeDocument/2006/relationships/image" Target="../media/image8.png"/><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6.xml"/><Relationship Id="rId1" Type="http://schemas.openxmlformats.org/officeDocument/2006/relationships/tags" Target="../tags/tag39.xml"/><Relationship Id="rId6" Type="http://schemas.openxmlformats.org/officeDocument/2006/relationships/hyperlink" Target="https://www.hanser-elibrary.com/doi/book/10.3139/9783446441637" TargetMode="External"/><Relationship Id="rId5" Type="http://schemas.openxmlformats.org/officeDocument/2006/relationships/hyperlink" Target="https://eur-lex.europa.eu/legal-content/DE/TXT/PDF/?uri=CELEX:32006L0042&amp;from=DE" TargetMode="External"/><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6.xml"/><Relationship Id="rId1" Type="http://schemas.openxmlformats.org/officeDocument/2006/relationships/tags" Target="../tags/tag7.xml"/><Relationship Id="rId5" Type="http://schemas.openxmlformats.org/officeDocument/2006/relationships/image" Target="../media/image10.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tags" Target="../tags/tag9.xml"/><Relationship Id="rId5" Type="http://schemas.openxmlformats.org/officeDocument/2006/relationships/image" Target="../media/image13.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Wissensnugget</a:t>
            </a:r>
          </a:p>
        </p:txBody>
      </p:sp>
      <p:sp>
        <p:nvSpPr>
          <p:cNvPr id="3" name="Textplatzhalter 2"/>
          <p:cNvSpPr>
            <a:spLocks noGrp="1"/>
          </p:cNvSpPr>
          <p:nvPr>
            <p:ph type="body" sz="quarter" idx="14"/>
          </p:nvPr>
        </p:nvSpPr>
        <p:spPr/>
        <p:txBody>
          <a:bodyPr/>
          <a:lstStyle/>
          <a:p>
            <a:r>
              <a:rPr lang="de-CH" dirty="0"/>
              <a:t>Departement Technik / Institut IPEK</a:t>
            </a:r>
          </a:p>
        </p:txBody>
      </p:sp>
      <p:sp>
        <p:nvSpPr>
          <p:cNvPr id="4" name="Textplatzhalter 3"/>
          <p:cNvSpPr>
            <a:spLocks noGrp="1"/>
          </p:cNvSpPr>
          <p:nvPr>
            <p:ph type="body" sz="quarter" idx="19"/>
          </p:nvPr>
        </p:nvSpPr>
        <p:spPr/>
        <p:txBody>
          <a:bodyPr/>
          <a:lstStyle/>
          <a:p>
            <a:r>
              <a:rPr lang="de-CH" dirty="0"/>
              <a:t>Sicherstellen von Qualität</a:t>
            </a:r>
          </a:p>
        </p:txBody>
      </p:sp>
      <p:sp>
        <p:nvSpPr>
          <p:cNvPr id="8" name="Textplatzhalter 7">
            <a:extLst>
              <a:ext uri="{FF2B5EF4-FFF2-40B4-BE49-F238E27FC236}">
                <a16:creationId xmlns:a16="http://schemas.microsoft.com/office/drawing/2014/main" id="{06EEC538-A353-FDFC-656D-F95CC2F8877C}"/>
              </a:ext>
            </a:extLst>
          </p:cNvPr>
          <p:cNvSpPr>
            <a:spLocks noGrp="1"/>
          </p:cNvSpPr>
          <p:nvPr>
            <p:ph type="body" sz="quarter" idx="20"/>
          </p:nvPr>
        </p:nvSpPr>
        <p:spPr/>
        <p:txBody>
          <a:bodyPr/>
          <a:lstStyle/>
          <a:p>
            <a:endParaRPr lang="de-CH"/>
          </a:p>
        </p:txBody>
      </p:sp>
      <p:sp>
        <p:nvSpPr>
          <p:cNvPr id="9" name="Datumsplatzhalter 8">
            <a:extLst>
              <a:ext uri="{FF2B5EF4-FFF2-40B4-BE49-F238E27FC236}">
                <a16:creationId xmlns:a16="http://schemas.microsoft.com/office/drawing/2014/main" id="{A6B75BD8-31C0-C1B6-0B6B-F2933235E1E8}"/>
              </a:ext>
            </a:extLst>
          </p:cNvPr>
          <p:cNvSpPr>
            <a:spLocks noGrp="1"/>
          </p:cNvSpPr>
          <p:nvPr>
            <p:ph type="dt" sz="half" idx="10"/>
          </p:nvPr>
        </p:nvSpPr>
        <p:spPr/>
        <p:txBody>
          <a:bodyPr/>
          <a:lstStyle/>
          <a:p>
            <a:fld id="{FD868DD1-8314-46E6-A9B7-0013597CB88E}" type="datetime4">
              <a:rPr lang="de-CH" smtClean="0"/>
              <a:t>26. September 2023</a:t>
            </a:fld>
            <a:endParaRPr lang="de-CH" dirty="0"/>
          </a:p>
        </p:txBody>
      </p:sp>
    </p:spTree>
    <p:extLst>
      <p:ext uri="{BB962C8B-B14F-4D97-AF65-F5344CB8AC3E}">
        <p14:creationId xmlns:p14="http://schemas.microsoft.com/office/powerpoint/2010/main" val="24922409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9EE7E879-CAE4-71D4-CDF8-6514783BFC3B}"/>
              </a:ext>
            </a:extLst>
          </p:cNvPr>
          <p:cNvGraphicFramePr>
            <a:graphicFrameLocks noChangeAspect="1"/>
          </p:cNvGraphicFramePr>
          <p:nvPr>
            <p:custDataLst>
              <p:tags r:id="rId1"/>
            </p:custDataLst>
            <p:extLst>
              <p:ext uri="{D42A27DB-BD31-4B8C-83A1-F6EECF244321}">
                <p14:modId xmlns:p14="http://schemas.microsoft.com/office/powerpoint/2010/main" val="3910263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14" name="think-cell data - do not delete" hidden="1">
                        <a:extLst>
                          <a:ext uri="{FF2B5EF4-FFF2-40B4-BE49-F238E27FC236}">
                            <a16:creationId xmlns:a16="http://schemas.microsoft.com/office/drawing/2014/main" id="{9EE7E879-CAE4-71D4-CDF8-6514783BFC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Content Placeholder 7"/>
          <p:cNvPicPr>
            <a:picLocks noGrp="1" noChangeAspect="1"/>
          </p:cNvPicPr>
          <p:nvPr>
            <p:ph sz="quarter" idx="21"/>
          </p:nvPr>
        </p:nvPicPr>
        <p:blipFill rotWithShape="1">
          <a:blip r:embed="rId6"/>
          <a:srcRect t="2273" r="6829" b="4128"/>
          <a:stretch/>
        </p:blipFill>
        <p:spPr>
          <a:xfrm>
            <a:off x="1376026" y="1386676"/>
            <a:ext cx="8757911" cy="4997867"/>
          </a:xfrm>
          <a:prstGeom prst="rect">
            <a:avLst/>
          </a:prstGeom>
        </p:spPr>
      </p:pic>
      <p:sp>
        <p:nvSpPr>
          <p:cNvPr id="2" name="Date Placeholder 1"/>
          <p:cNvSpPr>
            <a:spLocks noGrp="1"/>
          </p:cNvSpPr>
          <p:nvPr>
            <p:ph type="dt" sz="half" idx="16"/>
          </p:nvPr>
        </p:nvSpPr>
        <p:spPr/>
        <p:txBody>
          <a:bodyPr/>
          <a:lstStyle/>
          <a:p>
            <a:fld id="{B5B8C3EC-8ABF-457E-8C09-F4EDAB5AC3DD}" type="datetime4">
              <a:rPr lang="de-CH" smtClean="0"/>
              <a:t>26. September 2023</a:t>
            </a:fld>
            <a:endParaRPr lang="de-CH" dirty="0"/>
          </a:p>
        </p:txBody>
      </p:sp>
      <p:sp>
        <p:nvSpPr>
          <p:cNvPr id="3" name="Footer Placeholder 2"/>
          <p:cNvSpPr>
            <a:spLocks noGrp="1"/>
          </p:cNvSpPr>
          <p:nvPr>
            <p:ph type="ftr" sz="quarter" idx="17"/>
          </p:nvPr>
        </p:nvSpPr>
        <p:spPr/>
        <p:txBody>
          <a:bodyPr/>
          <a:lstStyle/>
          <a:p>
            <a:r>
              <a:rPr lang="en-US"/>
              <a:t>Wissensnugget - Qualität</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10</a:t>
            </a:fld>
            <a:endParaRPr lang="de-CH" dirty="0"/>
          </a:p>
        </p:txBody>
      </p:sp>
      <p:sp>
        <p:nvSpPr>
          <p:cNvPr id="5" name="Title 4"/>
          <p:cNvSpPr>
            <a:spLocks noGrp="1"/>
          </p:cNvSpPr>
          <p:nvPr>
            <p:ph type="title"/>
          </p:nvPr>
        </p:nvSpPr>
        <p:spPr/>
        <p:txBody>
          <a:bodyPr vert="horz"/>
          <a:lstStyle/>
          <a:p>
            <a:r>
              <a:rPr lang="de-DE" dirty="0"/>
              <a:t>Warum gehen Projekte schief?</a:t>
            </a:r>
          </a:p>
        </p:txBody>
      </p:sp>
      <p:sp>
        <p:nvSpPr>
          <p:cNvPr id="7" name="Text Placeholder 6"/>
          <p:cNvSpPr>
            <a:spLocks noGrp="1"/>
          </p:cNvSpPr>
          <p:nvPr>
            <p:ph type="body" sz="quarter" idx="24"/>
          </p:nvPr>
        </p:nvSpPr>
        <p:spPr/>
        <p:txBody>
          <a:bodyPr>
            <a:normAutofit fontScale="92500" lnSpcReduction="20000"/>
          </a:bodyPr>
          <a:lstStyle/>
          <a:p>
            <a:r>
              <a:rPr lang="de-DE" dirty="0"/>
              <a:t>Anforderungsmanagement</a:t>
            </a:r>
          </a:p>
        </p:txBody>
      </p:sp>
      <p:sp>
        <p:nvSpPr>
          <p:cNvPr id="12" name="Rectangle 11"/>
          <p:cNvSpPr/>
          <p:nvPr/>
        </p:nvSpPr>
        <p:spPr>
          <a:xfrm>
            <a:off x="1293135" y="1421066"/>
            <a:ext cx="2208362" cy="684213"/>
          </a:xfrm>
          <a:prstGeom prst="rect">
            <a:avLst/>
          </a:prstGeom>
          <a:solidFill>
            <a:srgbClr val="FFFFFF"/>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DE" sz="1400" dirty="0">
              <a:solidFill>
                <a:schemeClr val="tx1"/>
              </a:solidFill>
            </a:endParaRPr>
          </a:p>
        </p:txBody>
      </p:sp>
      <p:sp>
        <p:nvSpPr>
          <p:cNvPr id="15" name="Rectangle 11">
            <a:extLst>
              <a:ext uri="{FF2B5EF4-FFF2-40B4-BE49-F238E27FC236}">
                <a16:creationId xmlns:a16="http://schemas.microsoft.com/office/drawing/2014/main" id="{E25C7F4F-1B20-EFC1-19B3-B293C4C73194}"/>
              </a:ext>
            </a:extLst>
          </p:cNvPr>
          <p:cNvSpPr/>
          <p:nvPr/>
        </p:nvSpPr>
        <p:spPr>
          <a:xfrm>
            <a:off x="1171215" y="5757003"/>
            <a:ext cx="1007442" cy="684213"/>
          </a:xfrm>
          <a:prstGeom prst="rect">
            <a:avLst/>
          </a:prstGeom>
          <a:solidFill>
            <a:srgbClr val="FFFFFF"/>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DE" sz="1400" dirty="0">
              <a:solidFill>
                <a:schemeClr val="tx1"/>
              </a:solidFill>
            </a:endParaRPr>
          </a:p>
        </p:txBody>
      </p:sp>
      <p:sp>
        <p:nvSpPr>
          <p:cNvPr id="16" name="Rectangle 11">
            <a:extLst>
              <a:ext uri="{FF2B5EF4-FFF2-40B4-BE49-F238E27FC236}">
                <a16:creationId xmlns:a16="http://schemas.microsoft.com/office/drawing/2014/main" id="{61CBA017-84ED-9C4F-2F07-AB80A5A05FD1}"/>
              </a:ext>
            </a:extLst>
          </p:cNvPr>
          <p:cNvSpPr/>
          <p:nvPr/>
        </p:nvSpPr>
        <p:spPr>
          <a:xfrm>
            <a:off x="9157920" y="5700330"/>
            <a:ext cx="1007442" cy="684213"/>
          </a:xfrm>
          <a:prstGeom prst="rect">
            <a:avLst/>
          </a:prstGeom>
          <a:solidFill>
            <a:srgbClr val="FFFFFF"/>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DE" sz="1400" dirty="0">
              <a:solidFill>
                <a:schemeClr val="tx1"/>
              </a:solidFill>
            </a:endParaRPr>
          </a:p>
        </p:txBody>
      </p:sp>
      <p:sp>
        <p:nvSpPr>
          <p:cNvPr id="6" name="Rectangle 8">
            <a:extLst>
              <a:ext uri="{FF2B5EF4-FFF2-40B4-BE49-F238E27FC236}">
                <a16:creationId xmlns:a16="http://schemas.microsoft.com/office/drawing/2014/main" id="{DF174110-4C9F-7C23-4339-36114A1BAF22}"/>
              </a:ext>
            </a:extLst>
          </p:cNvPr>
          <p:cNvSpPr/>
          <p:nvPr/>
        </p:nvSpPr>
        <p:spPr>
          <a:xfrm>
            <a:off x="7989570" y="1309782"/>
            <a:ext cx="2515870" cy="496731"/>
          </a:xfrm>
          <a:prstGeom prst="rect">
            <a:avLst/>
          </a:prstGeom>
          <a:solidFill>
            <a:srgbClr val="8C195F"/>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2000" dirty="0" err="1">
                <a:solidFill>
                  <a:schemeClr val="bg1"/>
                </a:solidFill>
              </a:rPr>
              <a:t>Get</a:t>
            </a:r>
            <a:r>
              <a:rPr lang="de-CH" sz="2000" dirty="0">
                <a:solidFill>
                  <a:schemeClr val="bg1"/>
                </a:solidFill>
              </a:rPr>
              <a:t> </a:t>
            </a:r>
            <a:r>
              <a:rPr lang="de-CH" sz="2000" dirty="0" err="1">
                <a:solidFill>
                  <a:schemeClr val="bg1"/>
                </a:solidFill>
              </a:rPr>
              <a:t>them</a:t>
            </a:r>
            <a:r>
              <a:rPr lang="de-CH" sz="2000" dirty="0">
                <a:solidFill>
                  <a:schemeClr val="bg1"/>
                </a:solidFill>
              </a:rPr>
              <a:t> </a:t>
            </a:r>
            <a:r>
              <a:rPr lang="de-CH" sz="2000" dirty="0" err="1">
                <a:solidFill>
                  <a:schemeClr val="bg1"/>
                </a:solidFill>
              </a:rPr>
              <a:t>right</a:t>
            </a:r>
            <a:r>
              <a:rPr lang="de-CH" sz="2000" dirty="0">
                <a:solidFill>
                  <a:schemeClr val="bg1"/>
                </a:solidFill>
              </a:rPr>
              <a:t>!</a:t>
            </a:r>
          </a:p>
        </p:txBody>
      </p:sp>
    </p:spTree>
    <p:extLst>
      <p:ext uri="{BB962C8B-B14F-4D97-AF65-F5344CB8AC3E}">
        <p14:creationId xmlns:p14="http://schemas.microsoft.com/office/powerpoint/2010/main" val="16211386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9A3BC67-2FB3-9CF9-B84F-8721811DEB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9" name="think-cell data - do not delete" hidden="1">
                        <a:extLst>
                          <a:ext uri="{FF2B5EF4-FFF2-40B4-BE49-F238E27FC236}">
                            <a16:creationId xmlns:a16="http://schemas.microsoft.com/office/drawing/2014/main" id="{19A3BC67-2FB3-9CF9-B84F-8721811DEB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6"/>
          </p:nvPr>
        </p:nvSpPr>
        <p:spPr/>
        <p:txBody>
          <a:bodyPr/>
          <a:lstStyle/>
          <a:p>
            <a:fld id="{3BCE48F7-7BA7-49C1-8100-5553F525A9A0}" type="datetime4">
              <a:rPr lang="de-CH" smtClean="0"/>
              <a:t>26. September 2023</a:t>
            </a:fld>
            <a:endParaRPr lang="de-CH" dirty="0"/>
          </a:p>
        </p:txBody>
      </p:sp>
      <p:sp>
        <p:nvSpPr>
          <p:cNvPr id="3" name="Footer Placeholder 2"/>
          <p:cNvSpPr>
            <a:spLocks noGrp="1"/>
          </p:cNvSpPr>
          <p:nvPr>
            <p:ph type="ftr" sz="quarter" idx="17"/>
          </p:nvPr>
        </p:nvSpPr>
        <p:spPr/>
        <p:txBody>
          <a:bodyPr/>
          <a:lstStyle/>
          <a:p>
            <a:r>
              <a:rPr lang="en-US"/>
              <a:t>Wissensnugget - Qualität</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11</a:t>
            </a:fld>
            <a:endParaRPr lang="de-CH" dirty="0"/>
          </a:p>
        </p:txBody>
      </p:sp>
      <p:sp>
        <p:nvSpPr>
          <p:cNvPr id="5" name="Title 4"/>
          <p:cNvSpPr>
            <a:spLocks noGrp="1"/>
          </p:cNvSpPr>
          <p:nvPr>
            <p:ph type="title"/>
          </p:nvPr>
        </p:nvSpPr>
        <p:spPr/>
        <p:txBody>
          <a:bodyPr vert="horz"/>
          <a:lstStyle/>
          <a:p>
            <a:r>
              <a:rPr lang="de-DE" dirty="0"/>
              <a:t>Regeln für das Anforderungsmanagement</a:t>
            </a:r>
          </a:p>
        </p:txBody>
      </p:sp>
      <p:sp>
        <p:nvSpPr>
          <p:cNvPr id="6" name="Content Placeholder 5"/>
          <p:cNvSpPr>
            <a:spLocks noGrp="1"/>
          </p:cNvSpPr>
          <p:nvPr>
            <p:ph sz="quarter" idx="21"/>
          </p:nvPr>
        </p:nvSpPr>
        <p:spPr>
          <a:xfrm>
            <a:off x="806450" y="1449388"/>
            <a:ext cx="10744319" cy="4751387"/>
          </a:xfrm>
        </p:spPr>
        <p:txBody>
          <a:bodyPr/>
          <a:lstStyle/>
          <a:p>
            <a:pPr marL="457200" indent="-457200">
              <a:buFont typeface="+mj-lt"/>
              <a:buAutoNum type="arabicPeriod"/>
            </a:pPr>
            <a:r>
              <a:rPr lang="de-DE" b="1" dirty="0"/>
              <a:t>Werteorientierung</a:t>
            </a:r>
            <a:r>
              <a:rPr lang="de-DE" dirty="0"/>
              <a:t>: Anforderungen sind kein Selbstzweck</a:t>
            </a:r>
          </a:p>
          <a:p>
            <a:pPr marL="457200" indent="-457200">
              <a:buFont typeface="+mj-lt"/>
              <a:buAutoNum type="arabicPeriod"/>
            </a:pPr>
            <a:r>
              <a:rPr lang="de-DE" b="1" dirty="0"/>
              <a:t>Stakeholder</a:t>
            </a:r>
            <a:r>
              <a:rPr lang="de-DE" dirty="0"/>
              <a:t>: Befriedung der Bedürfnisse der Stakeholder &amp; User</a:t>
            </a:r>
          </a:p>
          <a:p>
            <a:pPr marL="457200" indent="-457200">
              <a:buFont typeface="+mj-lt"/>
              <a:buAutoNum type="arabicPeriod"/>
            </a:pPr>
            <a:r>
              <a:rPr lang="de-DE" b="1" dirty="0"/>
              <a:t>Gemeinsames Verständnis</a:t>
            </a:r>
            <a:r>
              <a:rPr lang="de-DE" dirty="0"/>
              <a:t>: Erfolgreiche Systementwicklung ist nur mit einer gemeinsamen Kommunikation aller beteiligter möglich</a:t>
            </a:r>
          </a:p>
          <a:p>
            <a:pPr marL="457200" indent="-457200">
              <a:buFont typeface="+mj-lt"/>
              <a:buAutoNum type="arabicPeriod"/>
            </a:pPr>
            <a:r>
              <a:rPr lang="de-DE" b="1" dirty="0"/>
              <a:t>Kontext</a:t>
            </a:r>
            <a:r>
              <a:rPr lang="de-DE" dirty="0"/>
              <a:t>: Systeme können nicht isoliert verstanden werden</a:t>
            </a:r>
          </a:p>
          <a:p>
            <a:pPr marL="457200" indent="-457200">
              <a:buFont typeface="+mj-lt"/>
              <a:buAutoNum type="arabicPeriod"/>
            </a:pPr>
            <a:r>
              <a:rPr lang="de-DE" b="1" dirty="0"/>
              <a:t>Validierung</a:t>
            </a:r>
            <a:r>
              <a:rPr lang="de-DE" dirty="0"/>
              <a:t>: Ohne Validierung und Verifikation sind Anforderungen nutzlos</a:t>
            </a:r>
          </a:p>
          <a:p>
            <a:pPr marL="457200" indent="-457200">
              <a:buFont typeface="+mj-lt"/>
              <a:buAutoNum type="arabicPeriod"/>
            </a:pPr>
            <a:r>
              <a:rPr lang="de-DE" b="1" dirty="0"/>
              <a:t>Systematische und disziplinierte Arbeitsweise</a:t>
            </a:r>
          </a:p>
        </p:txBody>
      </p:sp>
      <p:sp>
        <p:nvSpPr>
          <p:cNvPr id="7" name="Text Placeholder 6"/>
          <p:cNvSpPr>
            <a:spLocks noGrp="1"/>
          </p:cNvSpPr>
          <p:nvPr>
            <p:ph type="body" sz="quarter" idx="24"/>
          </p:nvPr>
        </p:nvSpPr>
        <p:spPr/>
        <p:txBody>
          <a:bodyPr>
            <a:normAutofit fontScale="92500" lnSpcReduction="20000"/>
          </a:bodyPr>
          <a:lstStyle/>
          <a:p>
            <a:r>
              <a:rPr lang="de-DE" dirty="0"/>
              <a:t>Anforderungsmanagement</a:t>
            </a:r>
          </a:p>
        </p:txBody>
      </p:sp>
    </p:spTree>
    <p:extLst>
      <p:ext uri="{BB962C8B-B14F-4D97-AF65-F5344CB8AC3E}">
        <p14:creationId xmlns:p14="http://schemas.microsoft.com/office/powerpoint/2010/main" val="9937245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F2A6CC0-3A2E-F155-E2A5-5E38D548550A}"/>
              </a:ext>
            </a:extLst>
          </p:cNvPr>
          <p:cNvGraphicFramePr>
            <a:graphicFrameLocks noChangeAspect="1"/>
          </p:cNvGraphicFramePr>
          <p:nvPr>
            <p:custDataLst>
              <p:tags r:id="rId1"/>
            </p:custDataLst>
            <p:extLst>
              <p:ext uri="{D42A27DB-BD31-4B8C-83A1-F6EECF244321}">
                <p14:modId xmlns:p14="http://schemas.microsoft.com/office/powerpoint/2010/main" val="3444321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12" name="think-cell data - do not delete" hidden="1">
                        <a:extLst>
                          <a:ext uri="{FF2B5EF4-FFF2-40B4-BE49-F238E27FC236}">
                            <a16:creationId xmlns:a16="http://schemas.microsoft.com/office/drawing/2014/main" id="{3F2A6CC0-3A2E-F155-E2A5-5E38D54855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Inhaltsplatzhalter 13">
            <a:extLst>
              <a:ext uri="{FF2B5EF4-FFF2-40B4-BE49-F238E27FC236}">
                <a16:creationId xmlns:a16="http://schemas.microsoft.com/office/drawing/2014/main" id="{2DB3697E-2492-A3B4-9C00-63A89589EEDE}"/>
              </a:ext>
            </a:extLst>
          </p:cNvPr>
          <p:cNvSpPr>
            <a:spLocks noGrp="1"/>
          </p:cNvSpPr>
          <p:nvPr>
            <p:ph sz="quarter" idx="26"/>
          </p:nvPr>
        </p:nvSpPr>
        <p:spPr>
          <a:xfrm>
            <a:off x="806450" y="1449388"/>
            <a:ext cx="10921724" cy="4751387"/>
          </a:xfrm>
        </p:spPr>
        <p:txBody>
          <a:bodyPr/>
          <a:lstStyle/>
          <a:p>
            <a:r>
              <a:rPr lang="de-CH" dirty="0"/>
              <a:t>Das Verständnis des Kontext (Umfeld und Umsysteme) ist wesentlich für das Verständnis der Anforderungen.</a:t>
            </a:r>
          </a:p>
          <a:p>
            <a:endParaRPr lang="de-CH" dirty="0"/>
          </a:p>
        </p:txBody>
      </p:sp>
      <p:sp>
        <p:nvSpPr>
          <p:cNvPr id="2" name="Date Placeholder 1"/>
          <p:cNvSpPr>
            <a:spLocks noGrp="1"/>
          </p:cNvSpPr>
          <p:nvPr>
            <p:ph type="dt" sz="half" idx="10"/>
          </p:nvPr>
        </p:nvSpPr>
        <p:spPr/>
        <p:txBody>
          <a:bodyPr/>
          <a:lstStyle/>
          <a:p>
            <a:fld id="{5D626B99-E2B8-425A-BB82-08880BF5DECA}" type="datetime4">
              <a:rPr lang="de-CH" smtClean="0"/>
              <a:t>26. September 2023</a:t>
            </a:fld>
            <a:endParaRPr lang="de-CH" dirty="0"/>
          </a:p>
        </p:txBody>
      </p:sp>
      <p:sp>
        <p:nvSpPr>
          <p:cNvPr id="3" name="Footer Placeholder 2"/>
          <p:cNvSpPr>
            <a:spLocks noGrp="1"/>
          </p:cNvSpPr>
          <p:nvPr>
            <p:ph type="ftr" sz="quarter" idx="11"/>
          </p:nvPr>
        </p:nvSpPr>
        <p:spPr/>
        <p:txBody>
          <a:bodyPr/>
          <a:lstStyle/>
          <a:p>
            <a:r>
              <a:rPr lang="en-US"/>
              <a:t>Wissensnugget - Qualität</a:t>
            </a:r>
            <a:endParaRPr lang="de-CH" dirty="0"/>
          </a:p>
        </p:txBody>
      </p:sp>
      <p:sp>
        <p:nvSpPr>
          <p:cNvPr id="4" name="Slide Number Placeholder 3"/>
          <p:cNvSpPr>
            <a:spLocks noGrp="1"/>
          </p:cNvSpPr>
          <p:nvPr>
            <p:ph type="sldNum" sz="quarter" idx="12"/>
          </p:nvPr>
        </p:nvSpPr>
        <p:spPr/>
        <p:txBody>
          <a:bodyPr/>
          <a:lstStyle/>
          <a:p>
            <a:fld id="{4EAC321B-7500-4259-A00F-915439A35E15}" type="slidenum">
              <a:rPr lang="de-CH" smtClean="0"/>
              <a:pPr/>
              <a:t>12</a:t>
            </a:fld>
            <a:endParaRPr lang="de-CH" dirty="0"/>
          </a:p>
        </p:txBody>
      </p:sp>
      <p:sp>
        <p:nvSpPr>
          <p:cNvPr id="5" name="Title 4"/>
          <p:cNvSpPr>
            <a:spLocks noGrp="1"/>
          </p:cNvSpPr>
          <p:nvPr>
            <p:ph type="title"/>
          </p:nvPr>
        </p:nvSpPr>
        <p:spPr/>
        <p:txBody>
          <a:bodyPr vert="horz"/>
          <a:lstStyle/>
          <a:p>
            <a:r>
              <a:rPr lang="de-DE" dirty="0"/>
              <a:t>Systeme können nur im Kontext betrachtet werden</a:t>
            </a:r>
          </a:p>
        </p:txBody>
      </p:sp>
      <p:sp>
        <p:nvSpPr>
          <p:cNvPr id="6" name="Text Placeholder 5"/>
          <p:cNvSpPr>
            <a:spLocks noGrp="1"/>
          </p:cNvSpPr>
          <p:nvPr>
            <p:ph type="body" sz="quarter" idx="25"/>
          </p:nvPr>
        </p:nvSpPr>
        <p:spPr/>
        <p:txBody>
          <a:bodyPr>
            <a:normAutofit fontScale="92500" lnSpcReduction="20000"/>
          </a:bodyPr>
          <a:lstStyle/>
          <a:p>
            <a:r>
              <a:rPr lang="de-DE" dirty="0"/>
              <a:t>Anforderungsmanagement</a:t>
            </a:r>
          </a:p>
        </p:txBody>
      </p:sp>
      <p:pic>
        <p:nvPicPr>
          <p:cNvPr id="9" name="Picture 8"/>
          <p:cNvPicPr>
            <a:picLocks noChangeAspect="1"/>
          </p:cNvPicPr>
          <p:nvPr/>
        </p:nvPicPr>
        <p:blipFill>
          <a:blip r:embed="rId5"/>
          <a:stretch>
            <a:fillRect/>
          </a:stretch>
        </p:blipFill>
        <p:spPr>
          <a:xfrm>
            <a:off x="674371" y="2082212"/>
            <a:ext cx="6725952" cy="3941993"/>
          </a:xfrm>
          <a:prstGeom prst="rect">
            <a:avLst/>
          </a:prstGeom>
        </p:spPr>
      </p:pic>
      <p:sp>
        <p:nvSpPr>
          <p:cNvPr id="11" name="TextBox 10"/>
          <p:cNvSpPr txBox="1"/>
          <p:nvPr/>
        </p:nvSpPr>
        <p:spPr>
          <a:xfrm>
            <a:off x="4368846" y="6283325"/>
            <a:ext cx="1964485" cy="349250"/>
          </a:xfrm>
          <a:prstGeom prst="rect">
            <a:avLst/>
          </a:prstGeom>
          <a:noFill/>
        </p:spPr>
        <p:txBody>
          <a:bodyPr wrap="none" lIns="0" tIns="0" rIns="0" bIns="0" rtlCol="0">
            <a:normAutofit/>
          </a:bodyPr>
          <a:lstStyle/>
          <a:p>
            <a:pPr algn="l">
              <a:spcAft>
                <a:spcPts val="600"/>
              </a:spcAft>
              <a:buClr>
                <a:schemeClr val="tx2"/>
              </a:buClr>
            </a:pPr>
            <a:r>
              <a:rPr lang="de-DE" sz="1100" dirty="0">
                <a:ea typeface="Roboto Medium" panose="02000000000000000000" pitchFamily="2" charset="0"/>
              </a:rPr>
              <a:t>Quelle: Handbook IREB</a:t>
            </a:r>
          </a:p>
        </p:txBody>
      </p:sp>
      <p:sp>
        <p:nvSpPr>
          <p:cNvPr id="7" name="Textfeld 6">
            <a:extLst>
              <a:ext uri="{FF2B5EF4-FFF2-40B4-BE49-F238E27FC236}">
                <a16:creationId xmlns:a16="http://schemas.microsoft.com/office/drawing/2014/main" id="{38065D00-9FB7-D7D0-660B-8B100860CB23}"/>
              </a:ext>
            </a:extLst>
          </p:cNvPr>
          <p:cNvSpPr txBox="1"/>
          <p:nvPr/>
        </p:nvSpPr>
        <p:spPr>
          <a:xfrm>
            <a:off x="6934714" y="2321298"/>
            <a:ext cx="5259070" cy="3463819"/>
          </a:xfrm>
          <a:prstGeom prst="rect">
            <a:avLst/>
          </a:prstGeom>
          <a:solidFill>
            <a:schemeClr val="bg1"/>
          </a:solidFill>
          <a:ln w="28575">
            <a:noFill/>
            <a:miter lim="800000"/>
          </a:ln>
        </p:spPr>
        <p:txBody>
          <a:bodyPr wrap="square" lIns="108000" tIns="36000" rIns="108000" bIns="72000" rtlCol="0">
            <a:spAutoFit/>
          </a:bodyPr>
          <a:lstStyle/>
          <a:p>
            <a:pPr>
              <a:spcAft>
                <a:spcPts val="600"/>
              </a:spcAft>
              <a:buClr>
                <a:schemeClr val="tx2"/>
              </a:buClr>
            </a:pPr>
            <a:r>
              <a:rPr lang="de-CH" sz="1800" b="1" dirty="0">
                <a:ea typeface="Roboto Medium" panose="02000000000000000000" pitchFamily="2" charset="0"/>
              </a:rPr>
              <a:t>Systemgrenze:</a:t>
            </a:r>
          </a:p>
          <a:p>
            <a:pPr marL="285750" indent="-285750">
              <a:spcAft>
                <a:spcPts val="600"/>
              </a:spcAft>
              <a:buClr>
                <a:schemeClr val="tx2"/>
              </a:buClr>
              <a:buFont typeface="Arial" panose="020B0604020202020204" pitchFamily="34" charset="0"/>
              <a:buChar char="•"/>
            </a:pPr>
            <a:r>
              <a:rPr lang="de-CH" sz="1800" dirty="0">
                <a:ea typeface="Roboto Medium" panose="02000000000000000000" pitchFamily="2" charset="0"/>
              </a:rPr>
              <a:t>Sie zeigt, was zum System gehört und was nicht. Alles innerhalb dieser Grenze wird als Teil des zu entwickelnden Systems betrachtet.</a:t>
            </a:r>
          </a:p>
          <a:p>
            <a:pPr>
              <a:spcAft>
                <a:spcPts val="600"/>
              </a:spcAft>
              <a:buClr>
                <a:schemeClr val="tx2"/>
              </a:buClr>
            </a:pPr>
            <a:endParaRPr lang="de-CH" sz="1800" dirty="0">
              <a:ea typeface="Roboto Medium" panose="02000000000000000000" pitchFamily="2" charset="0"/>
            </a:endParaRPr>
          </a:p>
          <a:p>
            <a:pPr>
              <a:spcAft>
                <a:spcPts val="600"/>
              </a:spcAft>
              <a:buClr>
                <a:schemeClr val="tx2"/>
              </a:buClr>
            </a:pPr>
            <a:r>
              <a:rPr lang="de-CH" sz="1800" b="1" dirty="0">
                <a:ea typeface="Roboto Medium" panose="02000000000000000000" pitchFamily="2" charset="0"/>
              </a:rPr>
              <a:t>Kontext- oder Einflussgrenze:</a:t>
            </a:r>
          </a:p>
          <a:p>
            <a:pPr marL="285750" indent="-285750">
              <a:spcAft>
                <a:spcPts val="600"/>
              </a:spcAft>
              <a:buClr>
                <a:schemeClr val="tx2"/>
              </a:buClr>
              <a:buFont typeface="Arial" panose="020B0604020202020204" pitchFamily="34" charset="0"/>
              <a:buChar char="•"/>
            </a:pPr>
            <a:r>
              <a:rPr lang="de-CH" sz="1800" dirty="0">
                <a:ea typeface="Roboto Medium" panose="02000000000000000000" pitchFamily="2" charset="0"/>
              </a:rPr>
              <a:t>Die Einflussgrenze zeigt, wie das System mit seiner Umgebung interagiert. Alles, was innerhalb der Einflussgrenze liegt, kann das System beeinflussen oder von ihm beeinflusst werden.</a:t>
            </a:r>
          </a:p>
        </p:txBody>
      </p:sp>
    </p:spTree>
    <p:extLst>
      <p:ext uri="{BB962C8B-B14F-4D97-AF65-F5344CB8AC3E}">
        <p14:creationId xmlns:p14="http://schemas.microsoft.com/office/powerpoint/2010/main" val="34297886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6534B12-72E9-D934-0BA2-8BF87158BB56}"/>
              </a:ext>
            </a:extLst>
          </p:cNvPr>
          <p:cNvGraphicFramePr>
            <a:graphicFrameLocks noChangeAspect="1"/>
          </p:cNvGraphicFramePr>
          <p:nvPr>
            <p:custDataLst>
              <p:tags r:id="rId1"/>
            </p:custDataLst>
            <p:extLst>
              <p:ext uri="{D42A27DB-BD31-4B8C-83A1-F6EECF244321}">
                <p14:modId xmlns:p14="http://schemas.microsoft.com/office/powerpoint/2010/main" val="88663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6" name="think-cell data - do not delete" hidden="1">
                        <a:extLst>
                          <a:ext uri="{FF2B5EF4-FFF2-40B4-BE49-F238E27FC236}">
                            <a16:creationId xmlns:a16="http://schemas.microsoft.com/office/drawing/2014/main" id="{06534B12-72E9-D934-0BA2-8BF87158BB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Oval 37"/>
          <p:cNvSpPr/>
          <p:nvPr/>
        </p:nvSpPr>
        <p:spPr>
          <a:xfrm>
            <a:off x="6131548" y="3202697"/>
            <a:ext cx="362916" cy="579595"/>
          </a:xfrm>
          <a:prstGeom prst="ellipse">
            <a:avLst/>
          </a:prstGeom>
          <a:solidFill>
            <a:srgbClr val="D72872"/>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DE" sz="1400" dirty="0">
              <a:solidFill>
                <a:schemeClr val="tx1"/>
              </a:solidFill>
            </a:endParaRPr>
          </a:p>
        </p:txBody>
      </p:sp>
      <p:sp>
        <p:nvSpPr>
          <p:cNvPr id="8" name="Rectangle 7"/>
          <p:cNvSpPr/>
          <p:nvPr/>
        </p:nvSpPr>
        <p:spPr>
          <a:xfrm>
            <a:off x="5466483" y="2248476"/>
            <a:ext cx="1733695" cy="1132609"/>
          </a:xfrm>
          <a:prstGeom prst="rect">
            <a:avLst/>
          </a:prstGeom>
          <a:solidFill>
            <a:schemeClr val="bg1">
              <a:lumMod val="95000"/>
            </a:schemeClr>
          </a:solidFill>
          <a:ln w="28575"/>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b="1" dirty="0">
                <a:solidFill>
                  <a:schemeClr val="tx1"/>
                </a:solidFill>
              </a:rPr>
              <a:t>Display</a:t>
            </a:r>
          </a:p>
        </p:txBody>
      </p:sp>
      <p:sp>
        <p:nvSpPr>
          <p:cNvPr id="2" name="Date Placeholder 1"/>
          <p:cNvSpPr>
            <a:spLocks noGrp="1"/>
          </p:cNvSpPr>
          <p:nvPr>
            <p:ph type="dt" sz="half" idx="16"/>
          </p:nvPr>
        </p:nvSpPr>
        <p:spPr/>
        <p:txBody>
          <a:bodyPr/>
          <a:lstStyle/>
          <a:p>
            <a:fld id="{39522AEF-C6A3-45D5-8032-5D6D2D9DFAEE}" type="datetime4">
              <a:rPr lang="de-CH" smtClean="0"/>
              <a:t>26. September 2023</a:t>
            </a:fld>
            <a:endParaRPr lang="de-CH" dirty="0"/>
          </a:p>
        </p:txBody>
      </p:sp>
      <p:sp>
        <p:nvSpPr>
          <p:cNvPr id="3" name="Footer Placeholder 2"/>
          <p:cNvSpPr>
            <a:spLocks noGrp="1"/>
          </p:cNvSpPr>
          <p:nvPr>
            <p:ph type="ftr" sz="quarter" idx="17"/>
          </p:nvPr>
        </p:nvSpPr>
        <p:spPr/>
        <p:txBody>
          <a:bodyPr/>
          <a:lstStyle/>
          <a:p>
            <a:r>
              <a:rPr lang="en-US"/>
              <a:t>Wissensnugget - Qualität</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13</a:t>
            </a:fld>
            <a:endParaRPr lang="de-CH" dirty="0"/>
          </a:p>
        </p:txBody>
      </p:sp>
      <p:sp>
        <p:nvSpPr>
          <p:cNvPr id="5" name="Title 4"/>
          <p:cNvSpPr>
            <a:spLocks noGrp="1"/>
          </p:cNvSpPr>
          <p:nvPr>
            <p:ph type="title"/>
          </p:nvPr>
        </p:nvSpPr>
        <p:spPr/>
        <p:txBody>
          <a:bodyPr vert="horz">
            <a:normAutofit fontScale="90000"/>
          </a:bodyPr>
          <a:lstStyle/>
          <a:p>
            <a:r>
              <a:rPr lang="de-DE" dirty="0"/>
              <a:t>Beispiel zur Darstellung der Systemarchitektur eines Displays</a:t>
            </a:r>
          </a:p>
        </p:txBody>
      </p:sp>
      <p:sp>
        <p:nvSpPr>
          <p:cNvPr id="7" name="Text Placeholder 6"/>
          <p:cNvSpPr>
            <a:spLocks noGrp="1"/>
          </p:cNvSpPr>
          <p:nvPr>
            <p:ph type="body" sz="quarter" idx="24"/>
          </p:nvPr>
        </p:nvSpPr>
        <p:spPr/>
        <p:txBody>
          <a:bodyPr>
            <a:normAutofit fontScale="92500" lnSpcReduction="20000"/>
          </a:bodyPr>
          <a:lstStyle/>
          <a:p>
            <a:r>
              <a:rPr lang="de-DE" dirty="0"/>
              <a:t>Anforderungsmanagement</a:t>
            </a:r>
          </a:p>
        </p:txBody>
      </p:sp>
      <p:pic>
        <p:nvPicPr>
          <p:cNvPr id="10" name="Content Placeholder 7"/>
          <p:cNvPicPr>
            <a:picLocks noChangeAspect="1"/>
          </p:cNvPicPr>
          <p:nvPr/>
        </p:nvPicPr>
        <p:blipFill rotWithShape="1">
          <a:blip r:embed="rId5">
            <a:extLst>
              <a:ext uri="{28A0092B-C50C-407E-A947-70E740481C1C}">
                <a14:useLocalDpi xmlns:a14="http://schemas.microsoft.com/office/drawing/2010/main" val="0"/>
              </a:ext>
            </a:extLst>
          </a:blip>
          <a:srcRect t="20388" r="58270" b="45220"/>
          <a:stretch/>
        </p:blipFill>
        <p:spPr>
          <a:xfrm>
            <a:off x="8101294" y="4583548"/>
            <a:ext cx="2847432" cy="1943100"/>
          </a:xfrm>
          <a:prstGeom prst="rect">
            <a:avLst/>
          </a:prstGeom>
        </p:spPr>
      </p:pic>
      <p:sp>
        <p:nvSpPr>
          <p:cNvPr id="11" name="Rectangle 10"/>
          <p:cNvSpPr/>
          <p:nvPr/>
        </p:nvSpPr>
        <p:spPr>
          <a:xfrm>
            <a:off x="1299006" y="2248476"/>
            <a:ext cx="2275467" cy="1132609"/>
          </a:xfrm>
          <a:prstGeom prst="rect">
            <a:avLst/>
          </a:prstGeom>
          <a:noFill/>
          <a:ln w="28575"/>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rPr>
              <a:t>Main </a:t>
            </a:r>
            <a:r>
              <a:rPr lang="de-DE" sz="1400" dirty="0" err="1">
                <a:solidFill>
                  <a:schemeClr val="tx1"/>
                </a:solidFill>
              </a:rPr>
              <a:t>control</a:t>
            </a:r>
            <a:r>
              <a:rPr lang="de-DE" sz="1400" dirty="0">
                <a:solidFill>
                  <a:schemeClr val="tx1"/>
                </a:solidFill>
              </a:rPr>
              <a:t> </a:t>
            </a:r>
            <a:r>
              <a:rPr lang="de-DE" sz="1400" dirty="0" err="1">
                <a:solidFill>
                  <a:schemeClr val="tx1"/>
                </a:solidFill>
              </a:rPr>
              <a:t>unit</a:t>
            </a:r>
            <a:r>
              <a:rPr lang="de-DE" sz="1400" dirty="0">
                <a:solidFill>
                  <a:schemeClr val="tx1"/>
                </a:solidFill>
              </a:rPr>
              <a:t> (MCU)</a:t>
            </a:r>
          </a:p>
        </p:txBody>
      </p:sp>
      <p:sp>
        <p:nvSpPr>
          <p:cNvPr id="12" name="Rectangle 11"/>
          <p:cNvSpPr/>
          <p:nvPr/>
        </p:nvSpPr>
        <p:spPr>
          <a:xfrm>
            <a:off x="1350962" y="4135581"/>
            <a:ext cx="1208808" cy="895935"/>
          </a:xfrm>
          <a:prstGeom prst="rect">
            <a:avLst/>
          </a:prstGeom>
          <a:noFill/>
          <a:ln w="28575"/>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rPr>
              <a:t>Power Supply</a:t>
            </a:r>
          </a:p>
        </p:txBody>
      </p:sp>
      <p:sp>
        <p:nvSpPr>
          <p:cNvPr id="13" name="TextBox 12"/>
          <p:cNvSpPr txBox="1"/>
          <p:nvPr/>
        </p:nvSpPr>
        <p:spPr>
          <a:xfrm>
            <a:off x="8433201" y="1323738"/>
            <a:ext cx="3041710" cy="2183630"/>
          </a:xfrm>
          <a:prstGeom prst="rect">
            <a:avLst/>
          </a:prstGeom>
          <a:noFill/>
        </p:spPr>
        <p:txBody>
          <a:bodyPr wrap="none" lIns="0" tIns="0" rIns="0" bIns="0" rtlCol="0" anchor="ctr">
            <a:noAutofit/>
          </a:bodyPr>
          <a:lstStyle/>
          <a:p>
            <a:pPr algn="ctr">
              <a:spcAft>
                <a:spcPts val="600"/>
              </a:spcAft>
              <a:buClr>
                <a:schemeClr val="tx2"/>
              </a:buClr>
            </a:pPr>
            <a:r>
              <a:rPr lang="de-DE" sz="16000" dirty="0">
                <a:solidFill>
                  <a:srgbClr val="1DAF8E"/>
                </a:solidFill>
                <a:ea typeface="Roboto Medium" panose="02000000000000000000" pitchFamily="2" charset="0"/>
                <a:sym typeface="Webdings" panose="05030102010509060703" pitchFamily="18" charset="2"/>
              </a:rPr>
              <a:t></a:t>
            </a:r>
            <a:endParaRPr lang="de-DE" sz="16000" dirty="0">
              <a:solidFill>
                <a:srgbClr val="1DAF8E"/>
              </a:solidFill>
              <a:ea typeface="Roboto Medium" panose="02000000000000000000" pitchFamily="2" charset="0"/>
            </a:endParaRPr>
          </a:p>
        </p:txBody>
      </p:sp>
      <p:sp>
        <p:nvSpPr>
          <p:cNvPr id="14" name="Rectangle 13"/>
          <p:cNvSpPr/>
          <p:nvPr/>
        </p:nvSpPr>
        <p:spPr>
          <a:xfrm>
            <a:off x="4291302" y="1897787"/>
            <a:ext cx="3197859" cy="1981208"/>
          </a:xfrm>
          <a:prstGeom prst="rect">
            <a:avLst/>
          </a:prstGeom>
          <a:noFill/>
          <a:ln w="38100">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DE" sz="1400" dirty="0">
              <a:solidFill>
                <a:schemeClr val="tx1"/>
              </a:solidFill>
            </a:endParaRPr>
          </a:p>
        </p:txBody>
      </p:sp>
      <p:sp>
        <p:nvSpPr>
          <p:cNvPr id="15" name="Rectangle 14"/>
          <p:cNvSpPr/>
          <p:nvPr/>
        </p:nvSpPr>
        <p:spPr>
          <a:xfrm>
            <a:off x="883228" y="1710100"/>
            <a:ext cx="6750332" cy="3476135"/>
          </a:xfrm>
          <a:prstGeom prst="rect">
            <a:avLst/>
          </a:prstGeom>
          <a:noFill/>
          <a:ln w="38100">
            <a:solidFill>
              <a:srgbClr val="D72864"/>
            </a:solid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DE" sz="1400" dirty="0">
              <a:solidFill>
                <a:schemeClr val="tx1"/>
              </a:solidFill>
            </a:endParaRPr>
          </a:p>
        </p:txBody>
      </p:sp>
      <p:sp>
        <p:nvSpPr>
          <p:cNvPr id="16" name="TextBox 15"/>
          <p:cNvSpPr txBox="1"/>
          <p:nvPr/>
        </p:nvSpPr>
        <p:spPr>
          <a:xfrm>
            <a:off x="4342437" y="3571260"/>
            <a:ext cx="914400" cy="914400"/>
          </a:xfrm>
          <a:prstGeom prst="rect">
            <a:avLst/>
          </a:prstGeom>
          <a:noFill/>
        </p:spPr>
        <p:txBody>
          <a:bodyPr wrap="none" lIns="0" tIns="0" rIns="0" bIns="0" rtlCol="0">
            <a:normAutofit/>
          </a:bodyPr>
          <a:lstStyle/>
          <a:p>
            <a:pPr algn="l">
              <a:spcAft>
                <a:spcPts val="600"/>
              </a:spcAft>
              <a:buClr>
                <a:schemeClr val="tx2"/>
              </a:buClr>
            </a:pPr>
            <a:r>
              <a:rPr lang="de-DE" sz="1600" b="1" dirty="0">
                <a:ea typeface="Roboto Medium" panose="02000000000000000000" pitchFamily="2" charset="0"/>
              </a:rPr>
              <a:t>Systemgrenze</a:t>
            </a:r>
            <a:endParaRPr lang="de-DE" sz="2000" b="1" dirty="0">
              <a:ea typeface="Roboto Medium" panose="02000000000000000000" pitchFamily="2" charset="0"/>
            </a:endParaRPr>
          </a:p>
        </p:txBody>
      </p:sp>
      <p:sp>
        <p:nvSpPr>
          <p:cNvPr id="17" name="TextBox 16"/>
          <p:cNvSpPr txBox="1"/>
          <p:nvPr/>
        </p:nvSpPr>
        <p:spPr>
          <a:xfrm>
            <a:off x="6186147" y="4861564"/>
            <a:ext cx="914400" cy="914400"/>
          </a:xfrm>
          <a:prstGeom prst="rect">
            <a:avLst/>
          </a:prstGeom>
          <a:noFill/>
        </p:spPr>
        <p:txBody>
          <a:bodyPr wrap="none" lIns="0" tIns="0" rIns="0" bIns="0" rtlCol="0">
            <a:normAutofit/>
          </a:bodyPr>
          <a:lstStyle/>
          <a:p>
            <a:pPr algn="l">
              <a:spcAft>
                <a:spcPts val="600"/>
              </a:spcAft>
              <a:buClr>
                <a:schemeClr val="tx2"/>
              </a:buClr>
            </a:pPr>
            <a:r>
              <a:rPr lang="de-DE" sz="1600" b="1" dirty="0">
                <a:ea typeface="Roboto Medium" panose="02000000000000000000" pitchFamily="2" charset="0"/>
              </a:rPr>
              <a:t>Einflussgrenze</a:t>
            </a:r>
          </a:p>
        </p:txBody>
      </p:sp>
      <p:sp>
        <p:nvSpPr>
          <p:cNvPr id="18" name="TextBox 17"/>
          <p:cNvSpPr txBox="1"/>
          <p:nvPr/>
        </p:nvSpPr>
        <p:spPr>
          <a:xfrm>
            <a:off x="9543738" y="3475321"/>
            <a:ext cx="914400" cy="914400"/>
          </a:xfrm>
          <a:prstGeom prst="rect">
            <a:avLst/>
          </a:prstGeom>
          <a:noFill/>
        </p:spPr>
        <p:txBody>
          <a:bodyPr wrap="none" lIns="0" tIns="0" rIns="0" bIns="0" rtlCol="0">
            <a:normAutofit/>
          </a:bodyPr>
          <a:lstStyle/>
          <a:p>
            <a:pPr algn="l">
              <a:spcAft>
                <a:spcPts val="600"/>
              </a:spcAft>
              <a:buClr>
                <a:schemeClr val="tx2"/>
              </a:buClr>
            </a:pPr>
            <a:r>
              <a:rPr lang="de-DE" sz="1600" dirty="0">
                <a:ea typeface="Roboto Medium" panose="02000000000000000000" pitchFamily="2" charset="0"/>
              </a:rPr>
              <a:t>Fahrer/in</a:t>
            </a:r>
          </a:p>
        </p:txBody>
      </p:sp>
      <p:sp>
        <p:nvSpPr>
          <p:cNvPr id="19" name="TextBox 18"/>
          <p:cNvSpPr txBox="1"/>
          <p:nvPr/>
        </p:nvSpPr>
        <p:spPr>
          <a:xfrm>
            <a:off x="8357731" y="4485660"/>
            <a:ext cx="914400" cy="914400"/>
          </a:xfrm>
          <a:prstGeom prst="rect">
            <a:avLst/>
          </a:prstGeom>
          <a:noFill/>
        </p:spPr>
        <p:txBody>
          <a:bodyPr wrap="none" lIns="0" tIns="0" rIns="0" bIns="0" rtlCol="0">
            <a:normAutofit/>
          </a:bodyPr>
          <a:lstStyle/>
          <a:p>
            <a:pPr algn="l">
              <a:spcAft>
                <a:spcPts val="600"/>
              </a:spcAft>
              <a:buClr>
                <a:schemeClr val="tx2"/>
              </a:buClr>
            </a:pPr>
            <a:r>
              <a:rPr lang="de-DE" sz="1600" dirty="0">
                <a:ea typeface="Roboto Medium" panose="02000000000000000000" pitchFamily="2" charset="0"/>
              </a:rPr>
              <a:t>Fahrzeug</a:t>
            </a:r>
          </a:p>
        </p:txBody>
      </p:sp>
      <p:cxnSp>
        <p:nvCxnSpPr>
          <p:cNvPr id="21" name="Straight Connector 20"/>
          <p:cNvCxnSpPr/>
          <p:nvPr/>
        </p:nvCxnSpPr>
        <p:spPr>
          <a:xfrm flipV="1">
            <a:off x="2067791" y="3381085"/>
            <a:ext cx="0" cy="754497"/>
          </a:xfrm>
          <a:prstGeom prst="line">
            <a:avLst/>
          </a:prstGeom>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flipV="1">
            <a:off x="2147455" y="3381085"/>
            <a:ext cx="0" cy="754498"/>
          </a:xfrm>
          <a:prstGeom prst="line">
            <a:avLst/>
          </a:prstGeom>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p:nvCxnSpPr>
        <p:spPr>
          <a:xfrm>
            <a:off x="3574473" y="3152053"/>
            <a:ext cx="189201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p:nvCxnSpPr>
        <p:spPr>
          <a:xfrm flipV="1">
            <a:off x="3574473" y="3224575"/>
            <a:ext cx="1892010" cy="14142"/>
          </a:xfrm>
          <a:prstGeom prst="line">
            <a:avLst/>
          </a:prstGeom>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flipV="1">
            <a:off x="3576248" y="2718705"/>
            <a:ext cx="1892010" cy="14142"/>
          </a:xfrm>
          <a:prstGeom prst="line">
            <a:avLst/>
          </a:prstGeom>
          <a:ln>
            <a:prstDash val="sysDot"/>
          </a:ln>
        </p:spPr>
        <p:style>
          <a:lnRef idx="2">
            <a:schemeClr val="accent1"/>
          </a:lnRef>
          <a:fillRef idx="0">
            <a:schemeClr val="accent1"/>
          </a:fillRef>
          <a:effectRef idx="1">
            <a:schemeClr val="accent1"/>
          </a:effectRef>
          <a:fontRef idx="minor">
            <a:schemeClr val="tx1"/>
          </a:fontRef>
        </p:style>
      </p:cxnSp>
      <p:sp>
        <p:nvSpPr>
          <p:cNvPr id="36" name="TextBox 35"/>
          <p:cNvSpPr txBox="1"/>
          <p:nvPr/>
        </p:nvSpPr>
        <p:spPr>
          <a:xfrm>
            <a:off x="3646416" y="2907998"/>
            <a:ext cx="914400" cy="914400"/>
          </a:xfrm>
          <a:prstGeom prst="rect">
            <a:avLst/>
          </a:prstGeom>
          <a:noFill/>
        </p:spPr>
        <p:txBody>
          <a:bodyPr wrap="none" lIns="0" tIns="0" rIns="0" bIns="0" rtlCol="0">
            <a:normAutofit/>
          </a:bodyPr>
          <a:lstStyle/>
          <a:p>
            <a:pPr algn="l">
              <a:spcAft>
                <a:spcPts val="600"/>
              </a:spcAft>
              <a:buClr>
                <a:schemeClr val="tx2"/>
              </a:buClr>
            </a:pPr>
            <a:r>
              <a:rPr lang="de-DE" sz="1100" dirty="0">
                <a:ea typeface="Roboto Medium" panose="02000000000000000000" pitchFamily="2" charset="0"/>
              </a:rPr>
              <a:t>CAN-Bus</a:t>
            </a:r>
          </a:p>
        </p:txBody>
      </p:sp>
      <p:sp>
        <p:nvSpPr>
          <p:cNvPr id="37" name="Oval 36"/>
          <p:cNvSpPr/>
          <p:nvPr/>
        </p:nvSpPr>
        <p:spPr>
          <a:xfrm rot="5400000">
            <a:off x="6131548" y="3280664"/>
            <a:ext cx="362916" cy="1021736"/>
          </a:xfrm>
          <a:prstGeom prst="ellipse">
            <a:avLst/>
          </a:prstGeom>
          <a:solidFill>
            <a:srgbClr val="933279"/>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DE" sz="1400" dirty="0">
              <a:solidFill>
                <a:schemeClr val="tx1"/>
              </a:solidFill>
            </a:endParaRPr>
          </a:p>
        </p:txBody>
      </p:sp>
      <p:sp>
        <p:nvSpPr>
          <p:cNvPr id="39" name="Bent-Up Arrow 38"/>
          <p:cNvSpPr/>
          <p:nvPr/>
        </p:nvSpPr>
        <p:spPr>
          <a:xfrm flipH="1">
            <a:off x="6092928" y="3852601"/>
            <a:ext cx="1768536" cy="875363"/>
          </a:xfrm>
          <a:prstGeom prst="bentUpArrow">
            <a:avLst/>
          </a:prstGeom>
          <a:solidFill>
            <a:schemeClr val="bg1"/>
          </a:solidFill>
          <a:ln w="28575"/>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rPr>
              <a:t>Befestigung</a:t>
            </a:r>
          </a:p>
        </p:txBody>
      </p:sp>
      <p:sp>
        <p:nvSpPr>
          <p:cNvPr id="40" name="Bent-Up Arrow 39"/>
          <p:cNvSpPr/>
          <p:nvPr/>
        </p:nvSpPr>
        <p:spPr>
          <a:xfrm flipH="1">
            <a:off x="1766152" y="5082290"/>
            <a:ext cx="6095312" cy="875363"/>
          </a:xfrm>
          <a:prstGeom prst="bentUpArrow">
            <a:avLst/>
          </a:prstGeom>
          <a:solidFill>
            <a:schemeClr val="bg1"/>
          </a:solidFill>
          <a:ln w="28575">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rPr>
              <a:t>Befestigung </a:t>
            </a:r>
            <a:r>
              <a:rPr lang="de-DE" sz="1400" i="1" dirty="0">
                <a:solidFill>
                  <a:schemeClr val="tx1"/>
                </a:solidFill>
              </a:rPr>
              <a:t>→ Frage: könnte man diese gleich machen?</a:t>
            </a:r>
          </a:p>
        </p:txBody>
      </p:sp>
      <p:sp>
        <p:nvSpPr>
          <p:cNvPr id="41" name="Right Arrow 40"/>
          <p:cNvSpPr/>
          <p:nvPr/>
        </p:nvSpPr>
        <p:spPr>
          <a:xfrm flipH="1">
            <a:off x="7257253" y="2258678"/>
            <a:ext cx="2148928" cy="640298"/>
          </a:xfrm>
          <a:prstGeom prst="rightArrow">
            <a:avLst/>
          </a:prstGeom>
          <a:solidFill>
            <a:schemeClr val="bg1"/>
          </a:solidFill>
          <a:ln w="28575"/>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rPr>
              <a:t>Bedienung</a:t>
            </a:r>
          </a:p>
        </p:txBody>
      </p:sp>
      <p:sp>
        <p:nvSpPr>
          <p:cNvPr id="42" name="Rectangle 41"/>
          <p:cNvSpPr/>
          <p:nvPr/>
        </p:nvSpPr>
        <p:spPr>
          <a:xfrm>
            <a:off x="5604944" y="2353729"/>
            <a:ext cx="1494301" cy="909144"/>
          </a:xfrm>
          <a:prstGeom prst="rect">
            <a:avLst/>
          </a:prstGeom>
          <a:noFill/>
          <a:ln w="28575"/>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DE" sz="1400" dirty="0">
              <a:solidFill>
                <a:schemeClr val="tx1"/>
              </a:solidFill>
            </a:endParaRPr>
          </a:p>
        </p:txBody>
      </p:sp>
      <p:sp>
        <p:nvSpPr>
          <p:cNvPr id="44" name="Right Arrow 43"/>
          <p:cNvSpPr/>
          <p:nvPr/>
        </p:nvSpPr>
        <p:spPr>
          <a:xfrm rot="10800000" flipH="1" flipV="1">
            <a:off x="7275925" y="2866767"/>
            <a:ext cx="2148928" cy="640298"/>
          </a:xfrm>
          <a:prstGeom prst="rightArrow">
            <a:avLst/>
          </a:prstGeom>
          <a:solidFill>
            <a:schemeClr val="bg1"/>
          </a:solidFill>
          <a:ln w="28575"/>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rPr>
              <a:t>Anzeige</a:t>
            </a:r>
          </a:p>
        </p:txBody>
      </p:sp>
      <p:cxnSp>
        <p:nvCxnSpPr>
          <p:cNvPr id="45" name="Straight Connector 44"/>
          <p:cNvCxnSpPr/>
          <p:nvPr/>
        </p:nvCxnSpPr>
        <p:spPr>
          <a:xfrm flipV="1">
            <a:off x="2411339" y="5037906"/>
            <a:ext cx="0" cy="482065"/>
          </a:xfrm>
          <a:prstGeom prst="line">
            <a:avLst/>
          </a:prstGeom>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p:nvCxnSpPr>
        <p:spPr>
          <a:xfrm flipH="1" flipV="1">
            <a:off x="2411339" y="5519972"/>
            <a:ext cx="5917859" cy="6389"/>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537844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E86A2A41-3A4B-809D-3F0A-E7B1B096B227}"/>
              </a:ext>
            </a:extLst>
          </p:cNvPr>
          <p:cNvGraphicFramePr>
            <a:graphicFrameLocks noChangeAspect="1"/>
          </p:cNvGraphicFramePr>
          <p:nvPr>
            <p:custDataLst>
              <p:tags r:id="rId1"/>
            </p:custDataLst>
            <p:extLst>
              <p:ext uri="{D42A27DB-BD31-4B8C-83A1-F6EECF244321}">
                <p14:modId xmlns:p14="http://schemas.microsoft.com/office/powerpoint/2010/main" val="1501359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11" name="think-cell data - do not delete" hidden="1">
                        <a:extLst>
                          <a:ext uri="{FF2B5EF4-FFF2-40B4-BE49-F238E27FC236}">
                            <a16:creationId xmlns:a16="http://schemas.microsoft.com/office/drawing/2014/main" id="{E86A2A41-3A4B-809D-3F0A-E7B1B096B2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Content Placeholder 7"/>
          <p:cNvPicPr>
            <a:picLocks noGrp="1" noChangeAspect="1"/>
          </p:cNvPicPr>
          <p:nvPr>
            <p:ph sz="quarter" idx="21"/>
          </p:nvPr>
        </p:nvPicPr>
        <p:blipFill>
          <a:blip r:embed="rId5">
            <a:extLst>
              <a:ext uri="{28A0092B-C50C-407E-A947-70E740481C1C}">
                <a14:useLocalDpi xmlns:a14="http://schemas.microsoft.com/office/drawing/2010/main"/>
              </a:ext>
            </a:extLst>
          </a:blip>
          <a:stretch>
            <a:fillRect/>
          </a:stretch>
        </p:blipFill>
        <p:spPr>
          <a:xfrm>
            <a:off x="5278259" y="334039"/>
            <a:ext cx="6823494" cy="5649773"/>
          </a:xfrm>
        </p:spPr>
      </p:pic>
      <p:sp>
        <p:nvSpPr>
          <p:cNvPr id="2" name="Date Placeholder 1"/>
          <p:cNvSpPr>
            <a:spLocks noGrp="1"/>
          </p:cNvSpPr>
          <p:nvPr>
            <p:ph type="dt" sz="half" idx="16"/>
          </p:nvPr>
        </p:nvSpPr>
        <p:spPr/>
        <p:txBody>
          <a:bodyPr/>
          <a:lstStyle/>
          <a:p>
            <a:fld id="{56D63122-69D0-4C37-BF71-EBF940974DB1}" type="datetime4">
              <a:rPr lang="de-CH" smtClean="0"/>
              <a:t>26. September 2023</a:t>
            </a:fld>
            <a:endParaRPr lang="de-CH" dirty="0"/>
          </a:p>
        </p:txBody>
      </p:sp>
      <p:sp>
        <p:nvSpPr>
          <p:cNvPr id="3" name="Footer Placeholder 2"/>
          <p:cNvSpPr>
            <a:spLocks noGrp="1"/>
          </p:cNvSpPr>
          <p:nvPr>
            <p:ph type="ftr" sz="quarter" idx="17"/>
          </p:nvPr>
        </p:nvSpPr>
        <p:spPr/>
        <p:txBody>
          <a:bodyPr/>
          <a:lstStyle/>
          <a:p>
            <a:r>
              <a:rPr lang="en-US"/>
              <a:t>Wissensnugget - Qualität</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14</a:t>
            </a:fld>
            <a:endParaRPr lang="de-CH" dirty="0"/>
          </a:p>
        </p:txBody>
      </p:sp>
      <p:sp>
        <p:nvSpPr>
          <p:cNvPr id="5" name="Title 4"/>
          <p:cNvSpPr>
            <a:spLocks noGrp="1"/>
          </p:cNvSpPr>
          <p:nvPr>
            <p:ph type="title"/>
          </p:nvPr>
        </p:nvSpPr>
        <p:spPr>
          <a:xfrm>
            <a:off x="809176" y="477375"/>
            <a:ext cx="11053763" cy="684213"/>
          </a:xfrm>
        </p:spPr>
        <p:txBody>
          <a:bodyPr vert="horz">
            <a:normAutofit fontScale="90000"/>
          </a:bodyPr>
          <a:lstStyle/>
          <a:p>
            <a:r>
              <a:rPr lang="en-US" dirty="0" err="1"/>
              <a:t>Beispiel</a:t>
            </a:r>
            <a:r>
              <a:rPr lang="en-US" dirty="0"/>
              <a:t> </a:t>
            </a:r>
            <a:r>
              <a:rPr lang="en-US" dirty="0" err="1"/>
              <a:t>unklare</a:t>
            </a:r>
            <a:r>
              <a:rPr lang="en-US" dirty="0"/>
              <a:t> </a:t>
            </a:r>
            <a:r>
              <a:rPr lang="en-US" dirty="0" err="1"/>
              <a:t>Anforderung</a:t>
            </a:r>
            <a:r>
              <a:rPr lang="en-US" dirty="0"/>
              <a:t>: </a:t>
            </a:r>
            <a:r>
              <a:rPr lang="en-US" dirty="0" err="1"/>
              <a:t>Gehäuse</a:t>
            </a:r>
            <a:r>
              <a:rPr lang="en-US" dirty="0"/>
              <a:t> von </a:t>
            </a:r>
            <a:r>
              <a:rPr lang="en-US" dirty="0" err="1"/>
              <a:t>Gerät</a:t>
            </a:r>
            <a:r>
              <a:rPr lang="en-US" dirty="0"/>
              <a:t> </a:t>
            </a:r>
            <a:r>
              <a:rPr lang="en-US" dirty="0" err="1"/>
              <a:t>im</a:t>
            </a:r>
            <a:r>
              <a:rPr lang="en-US" dirty="0"/>
              <a:t> </a:t>
            </a:r>
            <a:r>
              <a:rPr lang="en-US" dirty="0" err="1"/>
              <a:t>Bergbau</a:t>
            </a:r>
            <a:endParaRPr lang="de-CH" dirty="0"/>
          </a:p>
        </p:txBody>
      </p:sp>
      <p:sp>
        <p:nvSpPr>
          <p:cNvPr id="7" name="Text Placeholder 6"/>
          <p:cNvSpPr>
            <a:spLocks noGrp="1"/>
          </p:cNvSpPr>
          <p:nvPr>
            <p:ph type="body" sz="quarter" idx="24"/>
          </p:nvPr>
        </p:nvSpPr>
        <p:spPr>
          <a:xfrm>
            <a:off x="806450" y="179105"/>
            <a:ext cx="11053764" cy="286673"/>
          </a:xfrm>
        </p:spPr>
        <p:txBody>
          <a:bodyPr>
            <a:normAutofit fontScale="92500" lnSpcReduction="20000"/>
          </a:bodyPr>
          <a:lstStyle/>
          <a:p>
            <a:r>
              <a:rPr lang="de-DE" dirty="0"/>
              <a:t>Anforderungsmanagement</a:t>
            </a:r>
            <a:endParaRPr lang="de-CH" dirty="0"/>
          </a:p>
        </p:txBody>
      </p:sp>
      <p:sp>
        <p:nvSpPr>
          <p:cNvPr id="9" name="Content Placeholder 7"/>
          <p:cNvSpPr txBox="1">
            <a:spLocks/>
          </p:cNvSpPr>
          <p:nvPr/>
        </p:nvSpPr>
        <p:spPr>
          <a:xfrm>
            <a:off x="809176" y="1449388"/>
            <a:ext cx="4227543" cy="4751387"/>
          </a:xfrm>
          <a:prstGeom prst="rect">
            <a:avLst/>
          </a:prstGeom>
        </p:spPr>
        <p:txBody>
          <a:bodyPr vert="horz" lIns="0" tIns="0" rIns="0" bIns="0" rtlCol="0">
            <a:normAutofit/>
          </a:bodyPr>
          <a:lstStyle>
            <a:lvl1pPr marL="252000" indent="-252000" algn="l" defTabSz="609768" rtl="0" eaLnBrk="1" latinLnBrk="0" hangingPunct="1">
              <a:spcBef>
                <a:spcPts val="1800"/>
              </a:spcBef>
              <a:buClr>
                <a:schemeClr val="tx2"/>
              </a:buClr>
              <a:buFont typeface="Arial" panose="020B0604020202020204" pitchFamily="34" charset="0"/>
              <a:buChar char="•"/>
              <a:defRPr sz="2000" kern="1200">
                <a:solidFill>
                  <a:schemeClr val="tx1"/>
                </a:solidFill>
                <a:latin typeface="+mn-lt"/>
                <a:ea typeface="+mn-ea"/>
                <a:cs typeface="+mn-cs"/>
              </a:defRPr>
            </a:lvl1pPr>
            <a:lvl2pPr marL="504000" indent="-252000" algn="l" defTabSz="609768" rtl="0" eaLnBrk="1" latinLnBrk="0" hangingPunct="1">
              <a:spcBef>
                <a:spcPts val="1200"/>
              </a:spcBef>
              <a:buClr>
                <a:schemeClr val="tx1"/>
              </a:buClr>
              <a:buSzPct val="80000"/>
              <a:buFont typeface="Arial" panose="020B0604020202020204" pitchFamily="34" charset="0"/>
              <a:buChar char="•"/>
              <a:defRPr sz="1800" kern="1200">
                <a:solidFill>
                  <a:schemeClr val="tx1"/>
                </a:solidFill>
                <a:latin typeface="+mn-lt"/>
                <a:ea typeface="+mn-ea"/>
                <a:cs typeface="+mn-cs"/>
              </a:defRPr>
            </a:lvl2pPr>
            <a:lvl3pPr marL="756000" indent="-252000" algn="l" defTabSz="609768" rtl="0" eaLnBrk="1" latinLnBrk="0" hangingPunct="1">
              <a:spcBef>
                <a:spcPts val="1000"/>
              </a:spcBef>
              <a:buSzPct val="90000"/>
              <a:buFont typeface="Symbol" panose="05050102010706020507" pitchFamily="18" charset="2"/>
              <a:buChar char="-"/>
              <a:defRPr sz="1600" kern="1200">
                <a:solidFill>
                  <a:schemeClr val="tx1"/>
                </a:solidFill>
                <a:latin typeface="+mn-lt"/>
                <a:ea typeface="+mn-ea"/>
                <a:cs typeface="+mn-cs"/>
              </a:defRPr>
            </a:lvl3pPr>
            <a:lvl4pPr marL="1008000" indent="-252000" algn="l" defTabSz="609768" rtl="0" eaLnBrk="1" latinLnBrk="0" hangingPunct="1">
              <a:spcBef>
                <a:spcPts val="600"/>
              </a:spcBef>
              <a:buFont typeface="Symbol" panose="05050102010706020507" pitchFamily="18" charset="2"/>
              <a:buChar char="-"/>
              <a:defRPr sz="1600" kern="1200">
                <a:solidFill>
                  <a:schemeClr val="tx1"/>
                </a:solidFill>
                <a:latin typeface="+mn-lt"/>
                <a:ea typeface="+mn-ea"/>
                <a:cs typeface="+mn-cs"/>
              </a:defRPr>
            </a:lvl4pPr>
            <a:lvl5pPr marL="1260000" marR="0" indent="-252000" algn="l" defTabSz="609768" rtl="0" eaLnBrk="1" fontAlgn="auto" latinLnBrk="0" hangingPunct="1">
              <a:lnSpc>
                <a:spcPct val="120000"/>
              </a:lnSpc>
              <a:spcBef>
                <a:spcPts val="600"/>
              </a:spcBef>
              <a:spcAft>
                <a:spcPts val="0"/>
              </a:spcAft>
              <a:buClrTx/>
              <a:buSzTx/>
              <a:buFont typeface="Symbol" panose="05050102010706020507" pitchFamily="18" charset="2"/>
              <a:buChar char="-"/>
              <a:tabLst/>
              <a:defRPr sz="1600" kern="1200">
                <a:solidFill>
                  <a:schemeClr val="tx1"/>
                </a:solidFill>
                <a:latin typeface="+mn-lt"/>
                <a:ea typeface="+mn-ea"/>
                <a:cs typeface="+mn-cs"/>
              </a:defRPr>
            </a:lvl5pPr>
            <a:lvl6pPr marL="1512000" indent="-252000" algn="l" defTabSz="611188" rtl="0" eaLnBrk="1" latinLnBrk="0" hangingPunct="1">
              <a:lnSpc>
                <a:spcPct val="120000"/>
              </a:lnSpc>
              <a:spcBef>
                <a:spcPts val="600"/>
              </a:spcBef>
              <a:buFont typeface="Symbol" panose="05050102010706020507" pitchFamily="18" charset="2"/>
              <a:buChar char="-"/>
              <a:defRPr sz="1600" kern="1200" baseline="0">
                <a:solidFill>
                  <a:schemeClr val="tx1"/>
                </a:solidFill>
                <a:latin typeface="+mn-lt"/>
                <a:ea typeface="+mn-ea"/>
                <a:cs typeface="+mn-cs"/>
              </a:defRPr>
            </a:lvl6pPr>
            <a:lvl7pPr marL="1764000" indent="-252000" algn="l" defTabSz="609768" rtl="0" eaLnBrk="1" latinLnBrk="0" hangingPunct="1">
              <a:lnSpc>
                <a:spcPct val="120000"/>
              </a:lnSpc>
              <a:spcBef>
                <a:spcPts val="600"/>
              </a:spcBef>
              <a:buFont typeface="Symbol" panose="05050102010706020507" pitchFamily="18" charset="2"/>
              <a:buChar char="-"/>
              <a:defRPr sz="1600" kern="1200">
                <a:solidFill>
                  <a:schemeClr val="tx1"/>
                </a:solidFill>
                <a:latin typeface="+mn-lt"/>
                <a:ea typeface="+mn-ea"/>
                <a:cs typeface="+mn-cs"/>
              </a:defRPr>
            </a:lvl7pPr>
            <a:lvl8pPr marL="4573257" indent="-304884" algn="l" defTabSz="609768" rtl="0" eaLnBrk="1" latinLnBrk="0" hangingPunct="1">
              <a:spcBef>
                <a:spcPct val="20000"/>
              </a:spcBef>
              <a:buFont typeface="Arial"/>
              <a:buChar char="•"/>
              <a:defRPr sz="2700" kern="1200">
                <a:solidFill>
                  <a:schemeClr val="tx1"/>
                </a:solidFill>
                <a:latin typeface="+mn-lt"/>
                <a:ea typeface="+mn-ea"/>
                <a:cs typeface="+mn-cs"/>
              </a:defRPr>
            </a:lvl8pPr>
            <a:lvl9pPr marL="5183025" indent="-304884" algn="l" defTabSz="609768" rtl="0" eaLnBrk="1" latinLnBrk="0" hangingPunct="1">
              <a:spcBef>
                <a:spcPct val="20000"/>
              </a:spcBef>
              <a:buFont typeface="Arial"/>
              <a:buChar char="•"/>
              <a:defRPr sz="2700" kern="1200">
                <a:solidFill>
                  <a:schemeClr val="tx1"/>
                </a:solidFill>
                <a:latin typeface="+mn-lt"/>
                <a:ea typeface="+mn-ea"/>
                <a:cs typeface="+mn-cs"/>
              </a:defRPr>
            </a:lvl9pPr>
          </a:lstStyle>
          <a:p>
            <a:r>
              <a:rPr lang="de-DE" dirty="0"/>
              <a:t>Anforderung: Das Gehäuse muss "</a:t>
            </a:r>
            <a:r>
              <a:rPr lang="de-DE" b="1" dirty="0"/>
              <a:t>Gorilla-Proof" </a:t>
            </a:r>
            <a:r>
              <a:rPr lang="de-DE" dirty="0"/>
              <a:t>sein. </a:t>
            </a:r>
            <a:r>
              <a:rPr lang="de-DE" dirty="0" err="1"/>
              <a:t>Heisst</a:t>
            </a:r>
            <a:r>
              <a:rPr lang="de-DE" dirty="0"/>
              <a:t> das:</a:t>
            </a:r>
          </a:p>
          <a:p>
            <a:pPr lvl="1"/>
            <a:r>
              <a:rPr lang="de-DE" dirty="0"/>
              <a:t>Das Gehäuse muss von einem Gorilla bedient werden können?</a:t>
            </a:r>
          </a:p>
          <a:p>
            <a:pPr lvl="1"/>
            <a:r>
              <a:rPr lang="de-DE" dirty="0"/>
              <a:t>Das Gehäuse darf nicht kaputt gehen wenn wir es einem Gorilla geben?</a:t>
            </a:r>
          </a:p>
          <a:p>
            <a:pPr lvl="1"/>
            <a:endParaRPr lang="de-DE" dirty="0"/>
          </a:p>
          <a:p>
            <a:pPr>
              <a:buFont typeface="Wingdings" panose="05000000000000000000" pitchFamily="2" charset="2"/>
              <a:buChar char="Ø"/>
            </a:pPr>
            <a:r>
              <a:rPr lang="de-DE" dirty="0"/>
              <a:t> Anforderungen klar messbar definieren, allenfalls mit Normen</a:t>
            </a:r>
          </a:p>
          <a:p>
            <a:pPr>
              <a:buFont typeface="Wingdings" panose="05000000000000000000" pitchFamily="2" charset="2"/>
              <a:buChar char="Ø"/>
            </a:pPr>
            <a:r>
              <a:rPr lang="de-DE" dirty="0"/>
              <a:t>Festlegen, wann, was gegen welche Anforderung getestet wird.</a:t>
            </a:r>
          </a:p>
          <a:p>
            <a:endParaRPr lang="de-DE" dirty="0"/>
          </a:p>
        </p:txBody>
      </p:sp>
      <p:sp>
        <p:nvSpPr>
          <p:cNvPr id="10" name="TextBox 9"/>
          <p:cNvSpPr txBox="1"/>
          <p:nvPr/>
        </p:nvSpPr>
        <p:spPr>
          <a:xfrm>
            <a:off x="10203591" y="5925209"/>
            <a:ext cx="1397479" cy="914400"/>
          </a:xfrm>
          <a:prstGeom prst="rect">
            <a:avLst/>
          </a:prstGeom>
          <a:noFill/>
        </p:spPr>
        <p:txBody>
          <a:bodyPr wrap="none" lIns="0" tIns="0" rIns="0" bIns="0" rtlCol="0">
            <a:normAutofit/>
          </a:bodyPr>
          <a:lstStyle/>
          <a:p>
            <a:pPr algn="l">
              <a:spcAft>
                <a:spcPts val="600"/>
              </a:spcAft>
              <a:buClr>
                <a:schemeClr val="tx2"/>
              </a:buClr>
            </a:pPr>
            <a:r>
              <a:rPr lang="de-DE" sz="1200" dirty="0">
                <a:ea typeface="Roboto Medium" panose="02000000000000000000" pitchFamily="2" charset="0"/>
              </a:rPr>
              <a:t>Quelle: Hexagon Mining</a:t>
            </a:r>
          </a:p>
        </p:txBody>
      </p:sp>
    </p:spTree>
    <p:extLst>
      <p:ext uri="{BB962C8B-B14F-4D97-AF65-F5344CB8AC3E}">
        <p14:creationId xmlns:p14="http://schemas.microsoft.com/office/powerpoint/2010/main" val="5269610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8C268544-BF5D-7714-F96A-2433CD6BCED1}"/>
              </a:ext>
            </a:extLst>
          </p:cNvPr>
          <p:cNvGraphicFramePr>
            <a:graphicFrameLocks noChangeAspect="1"/>
          </p:cNvGraphicFramePr>
          <p:nvPr>
            <p:custDataLst>
              <p:tags r:id="rId1"/>
            </p:custDataLst>
            <p:extLst>
              <p:ext uri="{D42A27DB-BD31-4B8C-83A1-F6EECF244321}">
                <p14:modId xmlns:p14="http://schemas.microsoft.com/office/powerpoint/2010/main" val="1306235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11" name="think-cell data - do not delete" hidden="1">
                        <a:extLst>
                          <a:ext uri="{FF2B5EF4-FFF2-40B4-BE49-F238E27FC236}">
                            <a16:creationId xmlns:a16="http://schemas.microsoft.com/office/drawing/2014/main" id="{8C268544-BF5D-7714-F96A-2433CD6BC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6"/>
          </p:nvPr>
        </p:nvSpPr>
        <p:spPr/>
        <p:txBody>
          <a:bodyPr/>
          <a:lstStyle/>
          <a:p>
            <a:fld id="{9375407A-1E6C-4377-BE70-7693F4D40199}" type="datetime4">
              <a:rPr lang="de-CH" smtClean="0"/>
              <a:t>26. September 2023</a:t>
            </a:fld>
            <a:endParaRPr lang="de-CH" dirty="0"/>
          </a:p>
        </p:txBody>
      </p:sp>
      <p:sp>
        <p:nvSpPr>
          <p:cNvPr id="3" name="Footer Placeholder 2"/>
          <p:cNvSpPr>
            <a:spLocks noGrp="1"/>
          </p:cNvSpPr>
          <p:nvPr>
            <p:ph type="ftr" sz="quarter" idx="17"/>
          </p:nvPr>
        </p:nvSpPr>
        <p:spPr/>
        <p:txBody>
          <a:bodyPr/>
          <a:lstStyle/>
          <a:p>
            <a:r>
              <a:rPr lang="en-US"/>
              <a:t>Wissensnugget - Qualität</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15</a:t>
            </a:fld>
            <a:endParaRPr lang="de-CH" dirty="0"/>
          </a:p>
        </p:txBody>
      </p:sp>
      <p:sp>
        <p:nvSpPr>
          <p:cNvPr id="5" name="Title 4"/>
          <p:cNvSpPr>
            <a:spLocks noGrp="1"/>
          </p:cNvSpPr>
          <p:nvPr>
            <p:ph type="title"/>
          </p:nvPr>
        </p:nvSpPr>
        <p:spPr/>
        <p:txBody>
          <a:bodyPr vert="horz">
            <a:noAutofit/>
          </a:bodyPr>
          <a:lstStyle/>
          <a:p>
            <a:r>
              <a:rPr lang="de-DE" sz="2700" dirty="0"/>
              <a:t>Beispiel nicht Berücksichtigung des Kontexts: Rückscheiben Auto</a:t>
            </a:r>
          </a:p>
        </p:txBody>
      </p:sp>
      <p:sp>
        <p:nvSpPr>
          <p:cNvPr id="6" name="Content Placeholder 5"/>
          <p:cNvSpPr>
            <a:spLocks noGrp="1"/>
          </p:cNvSpPr>
          <p:nvPr>
            <p:ph sz="quarter" idx="21"/>
          </p:nvPr>
        </p:nvSpPr>
        <p:spPr>
          <a:xfrm>
            <a:off x="806449" y="1536558"/>
            <a:ext cx="4947368" cy="3663937"/>
          </a:xfrm>
        </p:spPr>
        <p:txBody>
          <a:bodyPr>
            <a:normAutofit fontScale="85000" lnSpcReduction="20000"/>
          </a:bodyPr>
          <a:lstStyle/>
          <a:p>
            <a:r>
              <a:rPr lang="de-DE" b="1" dirty="0"/>
              <a:t>Originale-Anforderung</a:t>
            </a:r>
          </a:p>
          <a:p>
            <a:pPr lvl="1"/>
            <a:r>
              <a:rPr lang="de-DE" dirty="0"/>
              <a:t>Rückscheiben des Fahrzeugs müssen eine </a:t>
            </a:r>
            <a:r>
              <a:rPr lang="de-DE" dirty="0" err="1"/>
              <a:t>Windlast</a:t>
            </a:r>
            <a:r>
              <a:rPr lang="de-DE" dirty="0"/>
              <a:t> bei 160 km/h aushalten</a:t>
            </a:r>
          </a:p>
          <a:p>
            <a:r>
              <a:rPr lang="de-DE" b="1" dirty="0"/>
              <a:t>Projektbestimmung während der Entwicklung</a:t>
            </a:r>
          </a:p>
          <a:p>
            <a:pPr lvl="1"/>
            <a:r>
              <a:rPr lang="de-DE" dirty="0"/>
              <a:t>Value Management um die Kosten und das Gewicht der Scheiben zu halbieren</a:t>
            </a:r>
          </a:p>
          <a:p>
            <a:r>
              <a:rPr lang="de-DE" b="1" dirty="0"/>
              <a:t>Entwickler-Standpunkt</a:t>
            </a:r>
          </a:p>
          <a:p>
            <a:pPr lvl="1"/>
            <a:r>
              <a:rPr lang="de-DE" i="1" dirty="0"/>
              <a:t>"160 km/h ist exzessiv"</a:t>
            </a:r>
          </a:p>
          <a:p>
            <a:pPr lvl="1"/>
            <a:r>
              <a:rPr lang="de-DE" dirty="0"/>
              <a:t>Abmindern auf 100 km/h (max. Rückwärtsgeschwindigkeit 30 km/h, Windlast 60 km/h und 10 km/h Marge)</a:t>
            </a:r>
          </a:p>
        </p:txBody>
      </p:sp>
      <p:sp>
        <p:nvSpPr>
          <p:cNvPr id="7" name="Text Placeholder 6"/>
          <p:cNvSpPr>
            <a:spLocks noGrp="1"/>
          </p:cNvSpPr>
          <p:nvPr>
            <p:ph type="body" sz="quarter" idx="24"/>
          </p:nvPr>
        </p:nvSpPr>
        <p:spPr/>
        <p:txBody>
          <a:bodyPr>
            <a:normAutofit fontScale="92500" lnSpcReduction="20000"/>
          </a:bodyPr>
          <a:lstStyle/>
          <a:p>
            <a:r>
              <a:rPr lang="de-DE" dirty="0"/>
              <a:t>Anforderungsmanagement</a:t>
            </a:r>
          </a:p>
        </p:txBody>
      </p:sp>
      <p:pic>
        <p:nvPicPr>
          <p:cNvPr id="8" name="Picture 7"/>
          <p:cNvPicPr>
            <a:picLocks noChangeAspect="1"/>
          </p:cNvPicPr>
          <p:nvPr/>
        </p:nvPicPr>
        <p:blipFill rotWithShape="1">
          <a:blip r:embed="rId5">
            <a:extLst>
              <a:ext uri="{28A0092B-C50C-407E-A947-70E740481C1C}">
                <a14:useLocalDpi xmlns:a14="http://schemas.microsoft.com/office/drawing/2010/main"/>
              </a:ext>
            </a:extLst>
          </a:blip>
          <a:srcRect l="-2083" t="13889" r="2083" b="14722"/>
          <a:stretch/>
        </p:blipFill>
        <p:spPr>
          <a:xfrm>
            <a:off x="5865022" y="1844007"/>
            <a:ext cx="5995191" cy="3209925"/>
          </a:xfrm>
          <a:prstGeom prst="rect">
            <a:avLst/>
          </a:prstGeom>
        </p:spPr>
      </p:pic>
      <p:sp>
        <p:nvSpPr>
          <p:cNvPr id="9" name="TextBox 8"/>
          <p:cNvSpPr txBox="1"/>
          <p:nvPr/>
        </p:nvSpPr>
        <p:spPr>
          <a:xfrm>
            <a:off x="10194965" y="5125242"/>
            <a:ext cx="914400" cy="914400"/>
          </a:xfrm>
          <a:prstGeom prst="rect">
            <a:avLst/>
          </a:prstGeom>
          <a:noFill/>
        </p:spPr>
        <p:txBody>
          <a:bodyPr wrap="none" lIns="0" tIns="0" rIns="0" bIns="0" rtlCol="0">
            <a:normAutofit/>
          </a:bodyPr>
          <a:lstStyle/>
          <a:p>
            <a:pPr algn="l">
              <a:spcAft>
                <a:spcPts val="600"/>
              </a:spcAft>
              <a:buClr>
                <a:schemeClr val="tx2"/>
              </a:buClr>
            </a:pPr>
            <a:r>
              <a:rPr lang="de-DE" sz="1000" dirty="0">
                <a:ea typeface="Roboto Medium" panose="02000000000000000000" pitchFamily="2" charset="0"/>
              </a:rPr>
              <a:t>Quelle: A. </a:t>
            </a:r>
            <a:r>
              <a:rPr lang="de-DE" sz="1000" dirty="0" err="1">
                <a:ea typeface="Roboto Medium" panose="02000000000000000000" pitchFamily="2" charset="0"/>
              </a:rPr>
              <a:t>Hawthorn</a:t>
            </a:r>
            <a:r>
              <a:rPr lang="de-DE" sz="1000" dirty="0">
                <a:ea typeface="Roboto Medium" panose="02000000000000000000" pitchFamily="2" charset="0"/>
              </a:rPr>
              <a:t>, Bristol</a:t>
            </a:r>
          </a:p>
        </p:txBody>
      </p:sp>
      <p:sp>
        <p:nvSpPr>
          <p:cNvPr id="24" name="Rectangle 8">
            <a:extLst>
              <a:ext uri="{FF2B5EF4-FFF2-40B4-BE49-F238E27FC236}">
                <a16:creationId xmlns:a16="http://schemas.microsoft.com/office/drawing/2014/main" id="{CFA3E11C-8EC0-21EF-C4C8-1CC723B77C4D}"/>
              </a:ext>
            </a:extLst>
          </p:cNvPr>
          <p:cNvSpPr/>
          <p:nvPr/>
        </p:nvSpPr>
        <p:spPr>
          <a:xfrm>
            <a:off x="806450" y="5355429"/>
            <a:ext cx="11057254" cy="684213"/>
          </a:xfrm>
          <a:prstGeom prst="rect">
            <a:avLst/>
          </a:prstGeom>
          <a:solidFill>
            <a:srgbClr val="8C195F"/>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2000" dirty="0">
                <a:solidFill>
                  <a:schemeClr val="bg1"/>
                </a:solidFill>
              </a:rPr>
              <a:t>Resultat: Bei vielen ersten Lieferlosen kam es zu gebrochenen Rückscheiben.</a:t>
            </a:r>
          </a:p>
        </p:txBody>
      </p:sp>
    </p:spTree>
    <p:extLst>
      <p:ext uri="{BB962C8B-B14F-4D97-AF65-F5344CB8AC3E}">
        <p14:creationId xmlns:p14="http://schemas.microsoft.com/office/powerpoint/2010/main" val="36391363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B29B23F-3107-9252-AA3C-F7776EA328F8}"/>
              </a:ext>
            </a:extLst>
          </p:cNvPr>
          <p:cNvGraphicFramePr>
            <a:graphicFrameLocks noChangeAspect="1"/>
          </p:cNvGraphicFramePr>
          <p:nvPr>
            <p:custDataLst>
              <p:tags r:id="rId1"/>
            </p:custDataLst>
            <p:extLst>
              <p:ext uri="{D42A27DB-BD31-4B8C-83A1-F6EECF244321}">
                <p14:modId xmlns:p14="http://schemas.microsoft.com/office/powerpoint/2010/main" val="3984271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7" name="think-cell data - do not delete" hidden="1">
                        <a:extLst>
                          <a:ext uri="{FF2B5EF4-FFF2-40B4-BE49-F238E27FC236}">
                            <a16:creationId xmlns:a16="http://schemas.microsoft.com/office/drawing/2014/main" id="{2B29B23F-3107-9252-AA3C-F7776EA328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p:nvPr>
        </p:nvSpPr>
        <p:spPr>
          <a:xfrm>
            <a:off x="806450" y="489564"/>
            <a:ext cx="11053763" cy="684213"/>
          </a:xfrm>
        </p:spPr>
        <p:txBody>
          <a:bodyPr vert="horz"/>
          <a:lstStyle/>
          <a:p>
            <a:r>
              <a:rPr lang="de-DE" dirty="0"/>
              <a:t>Arten von Anforderungen / Kriterien</a:t>
            </a:r>
          </a:p>
        </p:txBody>
      </p:sp>
      <p:sp>
        <p:nvSpPr>
          <p:cNvPr id="10" name="Text Placeholder 9"/>
          <p:cNvSpPr>
            <a:spLocks noGrp="1"/>
          </p:cNvSpPr>
          <p:nvPr>
            <p:ph type="body" sz="quarter" idx="24"/>
          </p:nvPr>
        </p:nvSpPr>
        <p:spPr>
          <a:xfrm>
            <a:off x="806449" y="205195"/>
            <a:ext cx="11053764" cy="286673"/>
          </a:xfrm>
        </p:spPr>
        <p:txBody>
          <a:bodyPr>
            <a:normAutofit fontScale="92500" lnSpcReduction="20000"/>
          </a:bodyPr>
          <a:lstStyle/>
          <a:p>
            <a:r>
              <a:rPr lang="de-DE" dirty="0"/>
              <a:t>Anforderungsmanagement</a:t>
            </a:r>
            <a:endParaRPr lang="de-CH" dirty="0"/>
          </a:p>
        </p:txBody>
      </p:sp>
      <p:sp>
        <p:nvSpPr>
          <p:cNvPr id="4" name="Date Placeholder 3"/>
          <p:cNvSpPr>
            <a:spLocks noGrp="1"/>
          </p:cNvSpPr>
          <p:nvPr>
            <p:ph type="dt" sz="half" idx="4294967295"/>
          </p:nvPr>
        </p:nvSpPr>
        <p:spPr>
          <a:xfrm>
            <a:off x="8821738" y="6453188"/>
            <a:ext cx="3376612" cy="179387"/>
          </a:xfrm>
        </p:spPr>
        <p:txBody>
          <a:bodyPr/>
          <a:lstStyle/>
          <a:p>
            <a:fld id="{13208210-9021-415E-B4DC-CE8E9B13AFF3}" type="datetime4">
              <a:rPr lang="de-CH" smtClean="0"/>
              <a:t>26. September 2023</a:t>
            </a:fld>
            <a:endParaRPr lang="de-CH" dirty="0"/>
          </a:p>
        </p:txBody>
      </p:sp>
      <p:graphicFrame>
        <p:nvGraphicFramePr>
          <p:cNvPr id="11" name="Object 7"/>
          <p:cNvGraphicFramePr>
            <a:graphicFrameLocks noChangeAspect="1"/>
          </p:cNvGraphicFramePr>
          <p:nvPr>
            <p:extLst>
              <p:ext uri="{D42A27DB-BD31-4B8C-83A1-F6EECF244321}">
                <p14:modId xmlns:p14="http://schemas.microsoft.com/office/powerpoint/2010/main" val="1956410896"/>
              </p:ext>
            </p:extLst>
          </p:nvPr>
        </p:nvGraphicFramePr>
        <p:xfrm>
          <a:off x="1819909" y="1296773"/>
          <a:ext cx="8390891" cy="2749247"/>
        </p:xfrm>
        <a:graphic>
          <a:graphicData uri="http://schemas.openxmlformats.org/presentationml/2006/ole">
            <mc:AlternateContent xmlns:mc="http://schemas.openxmlformats.org/markup-compatibility/2006">
              <mc:Choice xmlns:v="urn:schemas-microsoft-com:vml" Requires="v">
                <p:oleObj name="Visio" r:id="rId5" imgW="6154522" imgH="2014769" progId="Visio.Drawing.11">
                  <p:embed/>
                </p:oleObj>
              </mc:Choice>
              <mc:Fallback>
                <p:oleObj name="Visio" r:id="rId5" imgW="6154522" imgH="2014769" progId="Visio.Drawing.11">
                  <p:embed/>
                  <p:pic>
                    <p:nvPicPr>
                      <p:cNvPr id="11" name="Object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19909" y="1296773"/>
                        <a:ext cx="8390891" cy="2749247"/>
                      </a:xfrm>
                      <a:prstGeom prst="rect">
                        <a:avLst/>
                      </a:prstGeom>
                      <a:solidFill>
                        <a:schemeClr val="bg1"/>
                      </a:solidFill>
                    </p:spPr>
                  </p:pic>
                </p:oleObj>
              </mc:Fallback>
            </mc:AlternateContent>
          </a:graphicData>
        </a:graphic>
      </p:graphicFrame>
      <p:sp>
        <p:nvSpPr>
          <p:cNvPr id="2" name="Rectangle 1"/>
          <p:cNvSpPr/>
          <p:nvPr/>
        </p:nvSpPr>
        <p:spPr>
          <a:xfrm>
            <a:off x="802959" y="4193124"/>
            <a:ext cx="11053764" cy="1200329"/>
          </a:xfrm>
          <a:prstGeom prst="rect">
            <a:avLst/>
          </a:prstGeom>
        </p:spPr>
        <p:txBody>
          <a:bodyPr wrap="square">
            <a:spAutoFit/>
          </a:bodyPr>
          <a:lstStyle/>
          <a:p>
            <a:r>
              <a:rPr lang="de-CH" sz="1800" dirty="0"/>
              <a:t>Anforderungs-Kriterien kommen aus dem Lasten- bzw. Pflichtenheft oder den Gesprächen mit den Usern.</a:t>
            </a:r>
          </a:p>
          <a:p>
            <a:r>
              <a:rPr lang="de-DE" sz="1800" dirty="0"/>
              <a:t>Unterschiedliche Gruppen stellen oft unterschiedliche Ansprüche an das Produkt. Es ist Ihre Sache mit dem Auftraggeber diese Widersprüche zu klären. </a:t>
            </a:r>
          </a:p>
          <a:p>
            <a:r>
              <a:rPr lang="de-DE" sz="1800" dirty="0"/>
              <a:t>Eigene Annahmen unbedingt dem Auftraggeber mitteilen (ISO 9100).</a:t>
            </a:r>
          </a:p>
        </p:txBody>
      </p:sp>
      <p:sp>
        <p:nvSpPr>
          <p:cNvPr id="9" name="Rectangle 8"/>
          <p:cNvSpPr/>
          <p:nvPr/>
        </p:nvSpPr>
        <p:spPr>
          <a:xfrm>
            <a:off x="799469" y="5461294"/>
            <a:ext cx="11057254" cy="651704"/>
          </a:xfrm>
          <a:prstGeom prst="rect">
            <a:avLst/>
          </a:prstGeom>
          <a:solidFill>
            <a:srgbClr val="8C195F"/>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2000" dirty="0">
                <a:solidFill>
                  <a:schemeClr val="bg1"/>
                </a:solidFill>
              </a:rPr>
              <a:t>Die Kriterien dürfen sich nicht widersprechen</a:t>
            </a:r>
          </a:p>
        </p:txBody>
      </p:sp>
      <p:sp>
        <p:nvSpPr>
          <p:cNvPr id="3" name="Footer Placeholder 2"/>
          <p:cNvSpPr>
            <a:spLocks noGrp="1"/>
          </p:cNvSpPr>
          <p:nvPr>
            <p:ph type="ftr" sz="quarter" idx="17"/>
          </p:nvPr>
        </p:nvSpPr>
        <p:spPr/>
        <p:txBody>
          <a:bodyPr/>
          <a:lstStyle/>
          <a:p>
            <a:r>
              <a:rPr lang="en-US"/>
              <a:t>Wissensnugget - Qualität</a:t>
            </a:r>
            <a:endParaRPr lang="de-CH" dirty="0"/>
          </a:p>
        </p:txBody>
      </p:sp>
      <p:sp>
        <p:nvSpPr>
          <p:cNvPr id="5" name="Slide Number Placeholder 4"/>
          <p:cNvSpPr>
            <a:spLocks noGrp="1"/>
          </p:cNvSpPr>
          <p:nvPr>
            <p:ph type="sldNum" sz="quarter" idx="18"/>
          </p:nvPr>
        </p:nvSpPr>
        <p:spPr/>
        <p:txBody>
          <a:bodyPr/>
          <a:lstStyle/>
          <a:p>
            <a:fld id="{4EAC321B-7500-4259-A00F-915439A35E15}" type="slidenum">
              <a:rPr lang="de-CH" smtClean="0"/>
              <a:pPr/>
              <a:t>16</a:t>
            </a:fld>
            <a:endParaRPr lang="de-CH" dirty="0"/>
          </a:p>
        </p:txBody>
      </p:sp>
    </p:spTree>
    <p:extLst>
      <p:ext uri="{BB962C8B-B14F-4D97-AF65-F5344CB8AC3E}">
        <p14:creationId xmlns:p14="http://schemas.microsoft.com/office/powerpoint/2010/main" val="3770074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20"/>
          </p:nvPr>
        </p:nvSpPr>
        <p:spPr/>
        <p:txBody>
          <a:bodyPr/>
          <a:lstStyle/>
          <a:p>
            <a:r>
              <a:rPr lang="en-US" dirty="0"/>
              <a:t>Muss-</a:t>
            </a:r>
            <a:r>
              <a:rPr lang="en-US" dirty="0" err="1"/>
              <a:t>Kriterien</a:t>
            </a:r>
            <a:endParaRPr lang="de-CH" dirty="0"/>
          </a:p>
        </p:txBody>
      </p:sp>
      <p:sp>
        <p:nvSpPr>
          <p:cNvPr id="10" name="Text Placeholder 9"/>
          <p:cNvSpPr>
            <a:spLocks noGrp="1"/>
          </p:cNvSpPr>
          <p:nvPr>
            <p:ph type="body" sz="quarter" idx="22"/>
          </p:nvPr>
        </p:nvSpPr>
        <p:spPr/>
        <p:txBody>
          <a:bodyPr/>
          <a:lstStyle/>
          <a:p>
            <a:r>
              <a:rPr lang="en-US" dirty="0" err="1"/>
              <a:t>Optimierungskriterien</a:t>
            </a:r>
            <a:endParaRPr lang="de-CH" dirty="0"/>
          </a:p>
        </p:txBody>
      </p:sp>
      <p:sp>
        <p:nvSpPr>
          <p:cNvPr id="11" name="Text Placeholder 10"/>
          <p:cNvSpPr>
            <a:spLocks noGrp="1"/>
          </p:cNvSpPr>
          <p:nvPr>
            <p:ph type="body" sz="quarter" idx="24"/>
          </p:nvPr>
        </p:nvSpPr>
        <p:spPr/>
        <p:txBody>
          <a:bodyPr>
            <a:normAutofit fontScale="92500" lnSpcReduction="20000"/>
          </a:bodyPr>
          <a:lstStyle/>
          <a:p>
            <a:r>
              <a:rPr lang="de-DE" dirty="0"/>
              <a:t>Anforderungsmanagement</a:t>
            </a:r>
            <a:endParaRPr lang="de-CH" dirty="0"/>
          </a:p>
        </p:txBody>
      </p:sp>
      <p:sp>
        <p:nvSpPr>
          <p:cNvPr id="5" name="Title 4"/>
          <p:cNvSpPr>
            <a:spLocks noGrp="1"/>
          </p:cNvSpPr>
          <p:nvPr>
            <p:ph type="title"/>
          </p:nvPr>
        </p:nvSpPr>
        <p:spPr/>
        <p:txBody>
          <a:bodyPr/>
          <a:lstStyle/>
          <a:p>
            <a:r>
              <a:rPr lang="en-US" dirty="0" err="1"/>
              <a:t>Kriterien</a:t>
            </a:r>
            <a:endParaRPr lang="de-CH" dirty="0"/>
          </a:p>
        </p:txBody>
      </p:sp>
      <p:sp>
        <p:nvSpPr>
          <p:cNvPr id="12" name="Content Placeholder 11"/>
          <p:cNvSpPr>
            <a:spLocks noGrp="1"/>
          </p:cNvSpPr>
          <p:nvPr>
            <p:ph sz="quarter" idx="25"/>
          </p:nvPr>
        </p:nvSpPr>
        <p:spPr/>
        <p:txBody>
          <a:bodyPr>
            <a:normAutofit/>
          </a:bodyPr>
          <a:lstStyle/>
          <a:p>
            <a:r>
              <a:rPr lang="de-DE" sz="1700" dirty="0"/>
              <a:t>Sind prüfbar mit einem Test</a:t>
            </a:r>
          </a:p>
          <a:p>
            <a:r>
              <a:rPr lang="de-DE" sz="1700" dirty="0"/>
              <a:t>Sind binär (erfüllt/1 oder nicht erfüllt/0)</a:t>
            </a:r>
          </a:p>
          <a:p>
            <a:r>
              <a:rPr lang="de-DE" sz="1700" dirty="0"/>
              <a:t>Enthalten exakte Werte</a:t>
            </a:r>
          </a:p>
          <a:p>
            <a:r>
              <a:rPr lang="de-DE" sz="1700" dirty="0"/>
              <a:t>So viele Kriterien wie unbedingt nötig.</a:t>
            </a:r>
          </a:p>
          <a:p>
            <a:pPr lvl="1">
              <a:buFont typeface="Wingdings" panose="05000000000000000000" pitchFamily="2" charset="2"/>
              <a:buChar char="Ø"/>
            </a:pPr>
            <a:r>
              <a:rPr lang="de-DE" sz="1700" dirty="0">
                <a:solidFill>
                  <a:srgbClr val="8C195F"/>
                </a:solidFill>
              </a:rPr>
              <a:t>Konzepte, welche die Muss-Kriterien nicht erfüllen, müssen verworfen oder überarbeitet werden!</a:t>
            </a:r>
          </a:p>
          <a:p>
            <a:pPr marL="0" indent="0">
              <a:buNone/>
            </a:pPr>
            <a:r>
              <a:rPr lang="de-DE" sz="1700" u="sng" dirty="0"/>
              <a:t>Beispiel:</a:t>
            </a:r>
          </a:p>
          <a:p>
            <a:r>
              <a:rPr lang="de-DE" sz="1700" dirty="0"/>
              <a:t>Muss im Test der Kraft von 1 kN einmal standhalten</a:t>
            </a:r>
          </a:p>
          <a:p>
            <a:r>
              <a:rPr lang="de-DE" sz="1700" dirty="0"/>
              <a:t>Herstellkosten kleiner als CHF 4'000</a:t>
            </a:r>
          </a:p>
        </p:txBody>
      </p:sp>
      <p:sp>
        <p:nvSpPr>
          <p:cNvPr id="7" name="Content Placeholder 6"/>
          <p:cNvSpPr>
            <a:spLocks noGrp="1"/>
          </p:cNvSpPr>
          <p:nvPr>
            <p:ph sz="quarter" idx="26"/>
          </p:nvPr>
        </p:nvSpPr>
        <p:spPr>
          <a:xfrm>
            <a:off x="6494463" y="1881188"/>
            <a:ext cx="5364163" cy="2345372"/>
          </a:xfrm>
        </p:spPr>
        <p:txBody>
          <a:bodyPr>
            <a:normAutofit/>
          </a:bodyPr>
          <a:lstStyle/>
          <a:p>
            <a:r>
              <a:rPr lang="de-DE" sz="1700" dirty="0"/>
              <a:t>Beginnen mit dem Wort "möglichst"</a:t>
            </a:r>
          </a:p>
          <a:p>
            <a:r>
              <a:rPr lang="de-DE" sz="1700" dirty="0"/>
              <a:t>Werden zur Bewertung und dem Vergleich von unterschiedlichen Konzepten verwendet</a:t>
            </a:r>
          </a:p>
          <a:p>
            <a:pPr marL="0" indent="0">
              <a:buNone/>
            </a:pPr>
            <a:r>
              <a:rPr lang="de-DE" sz="1700" u="sng" dirty="0"/>
              <a:t>Beispiel:</a:t>
            </a:r>
          </a:p>
          <a:p>
            <a:r>
              <a:rPr lang="de-DE" sz="1700" dirty="0"/>
              <a:t>Möglichst wenige Komponenten verwenden</a:t>
            </a:r>
          </a:p>
          <a:p>
            <a:r>
              <a:rPr lang="de-DE" sz="1700" dirty="0"/>
              <a:t>Möglichst geringes Gewicht</a:t>
            </a:r>
          </a:p>
        </p:txBody>
      </p:sp>
      <p:sp>
        <p:nvSpPr>
          <p:cNvPr id="2" name="Date Placeholder 1"/>
          <p:cNvSpPr>
            <a:spLocks noGrp="1"/>
          </p:cNvSpPr>
          <p:nvPr>
            <p:ph type="dt" sz="half" idx="4294967295"/>
          </p:nvPr>
        </p:nvSpPr>
        <p:spPr>
          <a:xfrm>
            <a:off x="8821738" y="6453188"/>
            <a:ext cx="3376612" cy="179387"/>
          </a:xfrm>
        </p:spPr>
        <p:txBody>
          <a:bodyPr/>
          <a:lstStyle/>
          <a:p>
            <a:fld id="{D327A3F1-D9F0-45C2-ADE8-DD123E2A2B1A}" type="datetime4">
              <a:rPr lang="de-CH" smtClean="0"/>
              <a:t>26. September 2023</a:t>
            </a:fld>
            <a:endParaRPr lang="de-CH" dirty="0"/>
          </a:p>
        </p:txBody>
      </p:sp>
      <p:sp>
        <p:nvSpPr>
          <p:cNvPr id="3" name="Footer Placeholder 2"/>
          <p:cNvSpPr>
            <a:spLocks noGrp="1"/>
          </p:cNvSpPr>
          <p:nvPr>
            <p:ph type="ftr" sz="quarter" idx="4294967295"/>
          </p:nvPr>
        </p:nvSpPr>
        <p:spPr>
          <a:xfrm>
            <a:off x="790576" y="6465887"/>
            <a:ext cx="5364163" cy="333375"/>
          </a:xfrm>
        </p:spPr>
        <p:txBody>
          <a:bodyPr/>
          <a:lstStyle/>
          <a:p>
            <a:r>
              <a:rPr lang="de-CH"/>
              <a:t>Wissensnugget - Qualität</a:t>
            </a:r>
            <a:endParaRPr lang="de-CH" dirty="0"/>
          </a:p>
        </p:txBody>
      </p:sp>
      <p:sp>
        <p:nvSpPr>
          <p:cNvPr id="4" name="Slide Number Placeholder 3"/>
          <p:cNvSpPr>
            <a:spLocks noGrp="1"/>
          </p:cNvSpPr>
          <p:nvPr>
            <p:ph type="sldNum" sz="quarter" idx="4294967295"/>
          </p:nvPr>
        </p:nvSpPr>
        <p:spPr>
          <a:xfrm>
            <a:off x="0" y="6453188"/>
            <a:ext cx="538163" cy="179387"/>
          </a:xfrm>
        </p:spPr>
        <p:txBody>
          <a:bodyPr/>
          <a:lstStyle/>
          <a:p>
            <a:fld id="{4EAC321B-7500-4259-A00F-915439A35E15}" type="slidenum">
              <a:rPr lang="de-CH" smtClean="0"/>
              <a:pPr/>
              <a:t>17</a:t>
            </a:fld>
            <a:endParaRPr lang="de-CH" dirty="0"/>
          </a:p>
        </p:txBody>
      </p:sp>
      <p:sp>
        <p:nvSpPr>
          <p:cNvPr id="6" name="Text Placeholder 9">
            <a:extLst>
              <a:ext uri="{FF2B5EF4-FFF2-40B4-BE49-F238E27FC236}">
                <a16:creationId xmlns:a16="http://schemas.microsoft.com/office/drawing/2014/main" id="{7417ABD8-1DCC-BAC7-1482-35CD77A363D3}"/>
              </a:ext>
            </a:extLst>
          </p:cNvPr>
          <p:cNvSpPr txBox="1">
            <a:spLocks/>
          </p:cNvSpPr>
          <p:nvPr/>
        </p:nvSpPr>
        <p:spPr>
          <a:xfrm>
            <a:off x="6515681" y="4506044"/>
            <a:ext cx="5353967" cy="358775"/>
          </a:xfrm>
          <a:prstGeom prst="rect">
            <a:avLst/>
          </a:prstGeom>
        </p:spPr>
        <p:txBody>
          <a:bodyPr vert="horz" lIns="0" tIns="0" rIns="0" bIns="0" rtlCol="0" anchor="ctr" anchorCtr="0">
            <a:normAutofit/>
          </a:bodyPr>
          <a:lstStyle>
            <a:lvl1pPr marL="0" indent="0" algn="l" defTabSz="609768" rtl="0" eaLnBrk="1" latinLnBrk="0" hangingPunct="1">
              <a:lnSpc>
                <a:spcPct val="110000"/>
              </a:lnSpc>
              <a:spcBef>
                <a:spcPts val="1200"/>
              </a:spcBef>
              <a:spcAft>
                <a:spcPts val="0"/>
              </a:spcAft>
              <a:buClr>
                <a:schemeClr val="tx2"/>
              </a:buClr>
              <a:buFont typeface="Arial" panose="020B0604020202020204" pitchFamily="34" charset="0"/>
              <a:buNone/>
              <a:defRPr sz="2000" b="1" kern="1200">
                <a:solidFill>
                  <a:schemeClr val="tx1"/>
                </a:solidFill>
                <a:latin typeface="+mn-lt"/>
                <a:ea typeface="+mn-ea"/>
                <a:cs typeface="+mn-cs"/>
              </a:defRPr>
            </a:lvl1pPr>
            <a:lvl2pPr marL="457200" indent="0" algn="l" defTabSz="609768" rtl="0" eaLnBrk="1" latinLnBrk="0" hangingPunct="1">
              <a:lnSpc>
                <a:spcPct val="110000"/>
              </a:lnSpc>
              <a:spcBef>
                <a:spcPts val="1200"/>
              </a:spcBef>
              <a:spcAft>
                <a:spcPts val="0"/>
              </a:spcAft>
              <a:buClr>
                <a:schemeClr val="tx1"/>
              </a:buClr>
              <a:buSzPct val="80000"/>
              <a:buFont typeface="Arial" panose="020B0604020202020204" pitchFamily="34" charset="0"/>
              <a:buNone/>
              <a:defRPr sz="1800" kern="1200">
                <a:solidFill>
                  <a:schemeClr val="tx1"/>
                </a:solidFill>
                <a:latin typeface="+mn-lt"/>
                <a:ea typeface="+mn-ea"/>
                <a:cs typeface="+mn-cs"/>
              </a:defRPr>
            </a:lvl2pPr>
            <a:lvl3pPr marL="756000" indent="-252000" algn="l" defTabSz="609768" rtl="0" eaLnBrk="1" latinLnBrk="0" hangingPunct="1">
              <a:lnSpc>
                <a:spcPct val="110000"/>
              </a:lnSpc>
              <a:spcBef>
                <a:spcPts val="1200"/>
              </a:spcBef>
              <a:spcAft>
                <a:spcPts val="0"/>
              </a:spcAft>
              <a:buSzPct val="90000"/>
              <a:buFont typeface="Symbol" panose="05050102010706020507" pitchFamily="18" charset="2"/>
              <a:buChar char="-"/>
              <a:defRPr sz="1600" kern="1200">
                <a:solidFill>
                  <a:schemeClr val="tx1"/>
                </a:solidFill>
                <a:latin typeface="+mn-lt"/>
                <a:ea typeface="+mn-ea"/>
                <a:cs typeface="+mn-cs"/>
              </a:defRPr>
            </a:lvl3pPr>
            <a:lvl4pPr marL="1008000" indent="-252000" algn="l" defTabSz="609768" rtl="0" eaLnBrk="1" latinLnBrk="0" hangingPunct="1">
              <a:lnSpc>
                <a:spcPct val="110000"/>
              </a:lnSpc>
              <a:spcBef>
                <a:spcPts val="1200"/>
              </a:spcBef>
              <a:spcAft>
                <a:spcPts val="0"/>
              </a:spcAft>
              <a:buFont typeface="Symbol" panose="05050102010706020507" pitchFamily="18" charset="2"/>
              <a:buChar char="-"/>
              <a:defRPr sz="1600" kern="1200">
                <a:solidFill>
                  <a:schemeClr val="tx1"/>
                </a:solidFill>
                <a:latin typeface="+mn-lt"/>
                <a:ea typeface="+mn-ea"/>
                <a:cs typeface="+mn-cs"/>
              </a:defRPr>
            </a:lvl4pPr>
            <a:lvl5pPr marL="1260000" marR="0" indent="-252000" algn="l" defTabSz="609768" rtl="0" eaLnBrk="1" fontAlgn="auto" latinLnBrk="0" hangingPunct="1">
              <a:lnSpc>
                <a:spcPct val="110000"/>
              </a:lnSpc>
              <a:spcBef>
                <a:spcPts val="1200"/>
              </a:spcBef>
              <a:spcAft>
                <a:spcPts val="0"/>
              </a:spcAft>
              <a:buClrTx/>
              <a:buSzTx/>
              <a:buFont typeface="Symbol" panose="05050102010706020507" pitchFamily="18" charset="2"/>
              <a:buChar char="-"/>
              <a:tabLst/>
              <a:defRPr sz="1600" kern="1200">
                <a:solidFill>
                  <a:schemeClr val="tx1"/>
                </a:solidFill>
                <a:latin typeface="+mn-lt"/>
                <a:ea typeface="+mn-ea"/>
                <a:cs typeface="+mn-cs"/>
              </a:defRPr>
            </a:lvl5pPr>
            <a:lvl6pPr marL="1512000" indent="-252000" algn="l" defTabSz="611188" rtl="0" eaLnBrk="1" latinLnBrk="0" hangingPunct="1">
              <a:lnSpc>
                <a:spcPct val="110000"/>
              </a:lnSpc>
              <a:spcBef>
                <a:spcPts val="1200"/>
              </a:spcBef>
              <a:spcAft>
                <a:spcPts val="0"/>
              </a:spcAft>
              <a:buFont typeface="Symbol" panose="05050102010706020507" pitchFamily="18" charset="2"/>
              <a:buChar char="-"/>
              <a:defRPr sz="1600" kern="1200" baseline="0">
                <a:solidFill>
                  <a:schemeClr val="tx1"/>
                </a:solidFill>
                <a:latin typeface="+mn-lt"/>
                <a:ea typeface="+mn-ea"/>
                <a:cs typeface="+mn-cs"/>
              </a:defRPr>
            </a:lvl6pPr>
            <a:lvl7pPr marL="1764000" indent="-252000" algn="l" defTabSz="609768" rtl="0" eaLnBrk="1" latinLnBrk="0" hangingPunct="1">
              <a:lnSpc>
                <a:spcPct val="110000"/>
              </a:lnSpc>
              <a:spcBef>
                <a:spcPts val="1200"/>
              </a:spcBef>
              <a:spcAft>
                <a:spcPts val="0"/>
              </a:spcAft>
              <a:buFont typeface="Symbol" panose="05050102010706020507" pitchFamily="18" charset="2"/>
              <a:buChar char="-"/>
              <a:defRPr sz="1600" kern="1200">
                <a:solidFill>
                  <a:schemeClr val="tx1"/>
                </a:solidFill>
                <a:latin typeface="+mn-lt"/>
                <a:ea typeface="+mn-ea"/>
                <a:cs typeface="+mn-cs"/>
              </a:defRPr>
            </a:lvl7pPr>
            <a:lvl8pPr marL="4573257" indent="-304884" algn="l" defTabSz="609768" rtl="0" eaLnBrk="1" latinLnBrk="0" hangingPunct="1">
              <a:spcBef>
                <a:spcPct val="20000"/>
              </a:spcBef>
              <a:buFont typeface="Arial"/>
              <a:buChar char="•"/>
              <a:defRPr sz="2700" kern="1200">
                <a:solidFill>
                  <a:schemeClr val="tx1"/>
                </a:solidFill>
                <a:latin typeface="+mn-lt"/>
                <a:ea typeface="+mn-ea"/>
                <a:cs typeface="+mn-cs"/>
              </a:defRPr>
            </a:lvl8pPr>
            <a:lvl9pPr marL="5183025" indent="-304884" algn="l" defTabSz="609768" rtl="0" eaLnBrk="1" latinLnBrk="0" hangingPunct="1">
              <a:spcBef>
                <a:spcPct val="20000"/>
              </a:spcBef>
              <a:buFont typeface="Arial"/>
              <a:buChar char="•"/>
              <a:defRPr sz="2700" kern="1200">
                <a:solidFill>
                  <a:schemeClr val="tx1"/>
                </a:solidFill>
                <a:latin typeface="+mn-lt"/>
                <a:ea typeface="+mn-ea"/>
                <a:cs typeface="+mn-cs"/>
              </a:defRPr>
            </a:lvl9pPr>
          </a:lstStyle>
          <a:p>
            <a:r>
              <a:rPr lang="en-US" dirty="0"/>
              <a:t>Nice-to-have / Wunsch</a:t>
            </a:r>
            <a:endParaRPr lang="de-CH" dirty="0"/>
          </a:p>
        </p:txBody>
      </p:sp>
      <p:sp>
        <p:nvSpPr>
          <p:cNvPr id="8" name="Content Placeholder 6">
            <a:extLst>
              <a:ext uri="{FF2B5EF4-FFF2-40B4-BE49-F238E27FC236}">
                <a16:creationId xmlns:a16="http://schemas.microsoft.com/office/drawing/2014/main" id="{2CB9E334-4B3B-7241-1E8C-F59CED4274FC}"/>
              </a:ext>
            </a:extLst>
          </p:cNvPr>
          <p:cNvSpPr txBox="1">
            <a:spLocks/>
          </p:cNvSpPr>
          <p:nvPr/>
        </p:nvSpPr>
        <p:spPr>
          <a:xfrm>
            <a:off x="6505072" y="4937845"/>
            <a:ext cx="5364163" cy="1437238"/>
          </a:xfrm>
          <a:prstGeom prst="rect">
            <a:avLst/>
          </a:prstGeom>
        </p:spPr>
        <p:txBody>
          <a:bodyPr vert="horz" lIns="0" tIns="0" rIns="0" bIns="0" rtlCol="0">
            <a:normAutofit/>
          </a:bodyPr>
          <a:lstStyle>
            <a:lvl1pPr marL="252000" indent="-252000" algn="l" defTabSz="609768" rtl="0" eaLnBrk="1" latinLnBrk="0" hangingPunct="1">
              <a:lnSpc>
                <a:spcPct val="110000"/>
              </a:lnSpc>
              <a:spcBef>
                <a:spcPts val="1200"/>
              </a:spcBef>
              <a:spcAft>
                <a:spcPts val="0"/>
              </a:spcAft>
              <a:buClr>
                <a:schemeClr val="tx2"/>
              </a:buClr>
              <a:buFont typeface="Arial" panose="020B0604020202020204" pitchFamily="34" charset="0"/>
              <a:buChar char="•"/>
              <a:defRPr sz="2000" kern="1200">
                <a:solidFill>
                  <a:schemeClr val="tx1"/>
                </a:solidFill>
                <a:latin typeface="+mn-lt"/>
                <a:ea typeface="+mn-ea"/>
                <a:cs typeface="+mn-cs"/>
              </a:defRPr>
            </a:lvl1pPr>
            <a:lvl2pPr marL="504000" indent="-252000" algn="l" defTabSz="609768" rtl="0" eaLnBrk="1" latinLnBrk="0" hangingPunct="1">
              <a:lnSpc>
                <a:spcPct val="110000"/>
              </a:lnSpc>
              <a:spcBef>
                <a:spcPts val="1200"/>
              </a:spcBef>
              <a:spcAft>
                <a:spcPts val="0"/>
              </a:spcAft>
              <a:buClr>
                <a:schemeClr val="tx1"/>
              </a:buClr>
              <a:buSzPct val="80000"/>
              <a:buFont typeface="Arial" panose="020B0604020202020204" pitchFamily="34" charset="0"/>
              <a:buChar char="•"/>
              <a:defRPr sz="1800" kern="1200">
                <a:solidFill>
                  <a:schemeClr val="tx1"/>
                </a:solidFill>
                <a:latin typeface="+mn-lt"/>
                <a:ea typeface="+mn-ea"/>
                <a:cs typeface="+mn-cs"/>
              </a:defRPr>
            </a:lvl2pPr>
            <a:lvl3pPr marL="756000" indent="-252000" algn="l" defTabSz="609768" rtl="0" eaLnBrk="1" latinLnBrk="0" hangingPunct="1">
              <a:lnSpc>
                <a:spcPct val="110000"/>
              </a:lnSpc>
              <a:spcBef>
                <a:spcPts val="1200"/>
              </a:spcBef>
              <a:spcAft>
                <a:spcPts val="0"/>
              </a:spcAft>
              <a:buSzPct val="90000"/>
              <a:buFont typeface="Symbol" panose="05050102010706020507" pitchFamily="18" charset="2"/>
              <a:buChar char="-"/>
              <a:defRPr sz="1600" kern="1200">
                <a:solidFill>
                  <a:schemeClr val="tx1"/>
                </a:solidFill>
                <a:latin typeface="+mn-lt"/>
                <a:ea typeface="+mn-ea"/>
                <a:cs typeface="+mn-cs"/>
              </a:defRPr>
            </a:lvl3pPr>
            <a:lvl4pPr marL="1008000" indent="-252000" algn="l" defTabSz="609768" rtl="0" eaLnBrk="1" latinLnBrk="0" hangingPunct="1">
              <a:lnSpc>
                <a:spcPct val="110000"/>
              </a:lnSpc>
              <a:spcBef>
                <a:spcPts val="1200"/>
              </a:spcBef>
              <a:spcAft>
                <a:spcPts val="0"/>
              </a:spcAft>
              <a:buFont typeface="Symbol" panose="05050102010706020507" pitchFamily="18" charset="2"/>
              <a:buChar char="-"/>
              <a:defRPr sz="1600" kern="1200">
                <a:solidFill>
                  <a:schemeClr val="tx1"/>
                </a:solidFill>
                <a:latin typeface="+mn-lt"/>
                <a:ea typeface="+mn-ea"/>
                <a:cs typeface="+mn-cs"/>
              </a:defRPr>
            </a:lvl4pPr>
            <a:lvl5pPr marL="1260000" marR="0" indent="-252000" algn="l" defTabSz="609768" rtl="0" eaLnBrk="1" fontAlgn="auto" latinLnBrk="0" hangingPunct="1">
              <a:lnSpc>
                <a:spcPct val="110000"/>
              </a:lnSpc>
              <a:spcBef>
                <a:spcPts val="1200"/>
              </a:spcBef>
              <a:spcAft>
                <a:spcPts val="0"/>
              </a:spcAft>
              <a:buClrTx/>
              <a:buSzTx/>
              <a:buFont typeface="Symbol" panose="05050102010706020507" pitchFamily="18" charset="2"/>
              <a:buChar char="-"/>
              <a:tabLst/>
              <a:defRPr sz="1600" kern="1200">
                <a:solidFill>
                  <a:schemeClr val="tx1"/>
                </a:solidFill>
                <a:latin typeface="+mn-lt"/>
                <a:ea typeface="+mn-ea"/>
                <a:cs typeface="+mn-cs"/>
              </a:defRPr>
            </a:lvl5pPr>
            <a:lvl6pPr marL="1512000" indent="-252000" algn="l" defTabSz="611188" rtl="0" eaLnBrk="1" latinLnBrk="0" hangingPunct="1">
              <a:lnSpc>
                <a:spcPct val="110000"/>
              </a:lnSpc>
              <a:spcBef>
                <a:spcPts val="1200"/>
              </a:spcBef>
              <a:spcAft>
                <a:spcPts val="0"/>
              </a:spcAft>
              <a:buFont typeface="Symbol" panose="05050102010706020507" pitchFamily="18" charset="2"/>
              <a:buChar char="-"/>
              <a:defRPr sz="1600" kern="1200" baseline="0">
                <a:solidFill>
                  <a:schemeClr val="tx1"/>
                </a:solidFill>
                <a:latin typeface="+mn-lt"/>
                <a:ea typeface="+mn-ea"/>
                <a:cs typeface="+mn-cs"/>
              </a:defRPr>
            </a:lvl6pPr>
            <a:lvl7pPr marL="1764000" indent="-252000" algn="l" defTabSz="609768" rtl="0" eaLnBrk="1" latinLnBrk="0" hangingPunct="1">
              <a:lnSpc>
                <a:spcPct val="110000"/>
              </a:lnSpc>
              <a:spcBef>
                <a:spcPts val="1200"/>
              </a:spcBef>
              <a:spcAft>
                <a:spcPts val="0"/>
              </a:spcAft>
              <a:buFont typeface="Symbol" panose="05050102010706020507" pitchFamily="18" charset="2"/>
              <a:buChar char="-"/>
              <a:defRPr sz="1600" kern="1200">
                <a:solidFill>
                  <a:schemeClr val="tx1"/>
                </a:solidFill>
                <a:latin typeface="+mn-lt"/>
                <a:ea typeface="+mn-ea"/>
                <a:cs typeface="+mn-cs"/>
              </a:defRPr>
            </a:lvl7pPr>
            <a:lvl8pPr marL="4573257" indent="-304884" algn="l" defTabSz="609768" rtl="0" eaLnBrk="1" latinLnBrk="0" hangingPunct="1">
              <a:spcBef>
                <a:spcPct val="20000"/>
              </a:spcBef>
              <a:buFont typeface="Arial"/>
              <a:buChar char="•"/>
              <a:defRPr sz="2700" kern="1200">
                <a:solidFill>
                  <a:schemeClr val="tx1"/>
                </a:solidFill>
                <a:latin typeface="+mn-lt"/>
                <a:ea typeface="+mn-ea"/>
                <a:cs typeface="+mn-cs"/>
              </a:defRPr>
            </a:lvl8pPr>
            <a:lvl9pPr marL="5183025" indent="-304884" algn="l" defTabSz="609768" rtl="0" eaLnBrk="1" latinLnBrk="0" hangingPunct="1">
              <a:spcBef>
                <a:spcPct val="20000"/>
              </a:spcBef>
              <a:buFont typeface="Arial"/>
              <a:buChar char="•"/>
              <a:defRPr sz="2700" kern="1200">
                <a:solidFill>
                  <a:schemeClr val="tx1"/>
                </a:solidFill>
                <a:latin typeface="+mn-lt"/>
                <a:ea typeface="+mn-ea"/>
                <a:cs typeface="+mn-cs"/>
              </a:defRPr>
            </a:lvl9pPr>
          </a:lstStyle>
          <a:p>
            <a:r>
              <a:rPr lang="de-DE" sz="1700" dirty="0"/>
              <a:t>Machen den Kunden glücklich, sind aber nicht zwingend erforderlich</a:t>
            </a:r>
          </a:p>
          <a:p>
            <a:pPr marL="0" indent="0">
              <a:buNone/>
            </a:pPr>
            <a:r>
              <a:rPr lang="de-DE" sz="1600" u="sng" dirty="0"/>
              <a:t>Beispiel:</a:t>
            </a:r>
          </a:p>
          <a:p>
            <a:r>
              <a:rPr lang="de-DE" sz="1600" dirty="0"/>
              <a:t>Individuell </a:t>
            </a:r>
            <a:r>
              <a:rPr lang="de-DE" sz="1600" dirty="0" err="1"/>
              <a:t>beschriftbar</a:t>
            </a:r>
            <a:endParaRPr lang="de-DE" sz="1600" dirty="0"/>
          </a:p>
        </p:txBody>
      </p:sp>
    </p:spTree>
    <p:extLst>
      <p:ext uri="{BB962C8B-B14F-4D97-AF65-F5344CB8AC3E}">
        <p14:creationId xmlns:p14="http://schemas.microsoft.com/office/powerpoint/2010/main" val="8640883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91CD741-7A30-E4A6-0C34-77FA0930740D}"/>
              </a:ext>
            </a:extLst>
          </p:cNvPr>
          <p:cNvGraphicFramePr>
            <a:graphicFrameLocks noChangeAspect="1"/>
          </p:cNvGraphicFramePr>
          <p:nvPr>
            <p:custDataLst>
              <p:tags r:id="rId1"/>
            </p:custDataLst>
            <p:extLst>
              <p:ext uri="{D42A27DB-BD31-4B8C-83A1-F6EECF244321}">
                <p14:modId xmlns:p14="http://schemas.microsoft.com/office/powerpoint/2010/main" val="2472467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11" name="think-cell data - do not delete" hidden="1">
                        <a:extLst>
                          <a:ext uri="{FF2B5EF4-FFF2-40B4-BE49-F238E27FC236}">
                            <a16:creationId xmlns:a16="http://schemas.microsoft.com/office/drawing/2014/main" id="{A91CD741-7A30-E4A6-0C34-77FA093074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6"/>
          </p:nvPr>
        </p:nvSpPr>
        <p:spPr/>
        <p:txBody>
          <a:bodyPr/>
          <a:lstStyle/>
          <a:p>
            <a:fld id="{D709630E-5A39-4B21-B210-369203C5E3BA}" type="datetime4">
              <a:rPr lang="de-CH" smtClean="0"/>
              <a:t>26. September 2023</a:t>
            </a:fld>
            <a:endParaRPr lang="de-CH" dirty="0"/>
          </a:p>
        </p:txBody>
      </p:sp>
      <p:sp>
        <p:nvSpPr>
          <p:cNvPr id="3" name="Footer Placeholder 2"/>
          <p:cNvSpPr>
            <a:spLocks noGrp="1"/>
          </p:cNvSpPr>
          <p:nvPr>
            <p:ph type="ftr" sz="quarter" idx="17"/>
          </p:nvPr>
        </p:nvSpPr>
        <p:spPr/>
        <p:txBody>
          <a:bodyPr/>
          <a:lstStyle/>
          <a:p>
            <a:r>
              <a:rPr lang="de-CH"/>
              <a:t>Wissensnugget - Qualität</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18</a:t>
            </a:fld>
            <a:endParaRPr lang="de-CH" dirty="0"/>
          </a:p>
        </p:txBody>
      </p:sp>
      <p:sp>
        <p:nvSpPr>
          <p:cNvPr id="5" name="Title 4"/>
          <p:cNvSpPr>
            <a:spLocks noGrp="1"/>
          </p:cNvSpPr>
          <p:nvPr>
            <p:ph type="title"/>
          </p:nvPr>
        </p:nvSpPr>
        <p:spPr/>
        <p:txBody>
          <a:bodyPr vert="horz"/>
          <a:lstStyle/>
          <a:p>
            <a:r>
              <a:rPr lang="de-DE" dirty="0"/>
              <a:t>Beispiel Anforderungskatalog (I)</a:t>
            </a:r>
          </a:p>
        </p:txBody>
      </p:sp>
      <p:graphicFrame>
        <p:nvGraphicFramePr>
          <p:cNvPr id="8" name="Content Placeholder 7"/>
          <p:cNvGraphicFramePr>
            <a:graphicFrameLocks noGrp="1"/>
          </p:cNvGraphicFramePr>
          <p:nvPr>
            <p:ph sz="quarter" idx="21"/>
            <p:extLst>
              <p:ext uri="{D42A27DB-BD31-4B8C-83A1-F6EECF244321}">
                <p14:modId xmlns:p14="http://schemas.microsoft.com/office/powerpoint/2010/main" val="4095436575"/>
              </p:ext>
            </p:extLst>
          </p:nvPr>
        </p:nvGraphicFramePr>
        <p:xfrm>
          <a:off x="806451" y="2488366"/>
          <a:ext cx="10904580" cy="3677484"/>
        </p:xfrm>
        <a:graphic>
          <a:graphicData uri="http://schemas.openxmlformats.org/drawingml/2006/table">
            <a:tbl>
              <a:tblPr firstRow="1" bandRow="1">
                <a:tableStyleId>{21E4AEA4-8DFA-4A89-87EB-49C32662AFE0}</a:tableStyleId>
              </a:tblPr>
              <a:tblGrid>
                <a:gridCol w="567077">
                  <a:extLst>
                    <a:ext uri="{9D8B030D-6E8A-4147-A177-3AD203B41FA5}">
                      <a16:colId xmlns:a16="http://schemas.microsoft.com/office/drawing/2014/main" val="3761936769"/>
                    </a:ext>
                  </a:extLst>
                </a:gridCol>
                <a:gridCol w="1316640">
                  <a:extLst>
                    <a:ext uri="{9D8B030D-6E8A-4147-A177-3AD203B41FA5}">
                      <a16:colId xmlns:a16="http://schemas.microsoft.com/office/drawing/2014/main" val="638613953"/>
                    </a:ext>
                  </a:extLst>
                </a:gridCol>
                <a:gridCol w="1952772">
                  <a:extLst>
                    <a:ext uri="{9D8B030D-6E8A-4147-A177-3AD203B41FA5}">
                      <a16:colId xmlns:a16="http://schemas.microsoft.com/office/drawing/2014/main" val="4023000881"/>
                    </a:ext>
                  </a:extLst>
                </a:gridCol>
                <a:gridCol w="1952772">
                  <a:extLst>
                    <a:ext uri="{9D8B030D-6E8A-4147-A177-3AD203B41FA5}">
                      <a16:colId xmlns:a16="http://schemas.microsoft.com/office/drawing/2014/main" val="440596153"/>
                    </a:ext>
                  </a:extLst>
                </a:gridCol>
                <a:gridCol w="1033852">
                  <a:extLst>
                    <a:ext uri="{9D8B030D-6E8A-4147-A177-3AD203B41FA5}">
                      <a16:colId xmlns:a16="http://schemas.microsoft.com/office/drawing/2014/main" val="1401541121"/>
                    </a:ext>
                  </a:extLst>
                </a:gridCol>
                <a:gridCol w="1127099">
                  <a:extLst>
                    <a:ext uri="{9D8B030D-6E8A-4147-A177-3AD203B41FA5}">
                      <a16:colId xmlns:a16="http://schemas.microsoft.com/office/drawing/2014/main" val="2223368642"/>
                    </a:ext>
                  </a:extLst>
                </a:gridCol>
                <a:gridCol w="1675538">
                  <a:extLst>
                    <a:ext uri="{9D8B030D-6E8A-4147-A177-3AD203B41FA5}">
                      <a16:colId xmlns:a16="http://schemas.microsoft.com/office/drawing/2014/main" val="4083131750"/>
                    </a:ext>
                  </a:extLst>
                </a:gridCol>
                <a:gridCol w="1278830">
                  <a:extLst>
                    <a:ext uri="{9D8B030D-6E8A-4147-A177-3AD203B41FA5}">
                      <a16:colId xmlns:a16="http://schemas.microsoft.com/office/drawing/2014/main" val="1088592057"/>
                    </a:ext>
                  </a:extLst>
                </a:gridCol>
              </a:tblGrid>
              <a:tr h="317068">
                <a:tc>
                  <a:txBody>
                    <a:bodyPr/>
                    <a:lstStyle/>
                    <a:p>
                      <a:pPr algn="ctr"/>
                      <a:endParaRPr lang="de-DE" sz="1200" dirty="0"/>
                    </a:p>
                  </a:txBody>
                  <a:tcPr/>
                </a:tc>
                <a:tc>
                  <a:txBody>
                    <a:bodyPr/>
                    <a:lstStyle/>
                    <a:p>
                      <a:r>
                        <a:rPr lang="de-DE" sz="1200" dirty="0"/>
                        <a:t>Kategorie</a:t>
                      </a:r>
                    </a:p>
                  </a:txBody>
                  <a:tcPr/>
                </a:tc>
                <a:tc>
                  <a:txBody>
                    <a:bodyPr/>
                    <a:lstStyle/>
                    <a:p>
                      <a:r>
                        <a:rPr lang="de-DE" sz="1200" dirty="0"/>
                        <a:t>Anforderung</a:t>
                      </a:r>
                    </a:p>
                  </a:txBody>
                  <a:tcPr/>
                </a:tc>
                <a:tc>
                  <a:txBody>
                    <a:bodyPr/>
                    <a:lstStyle/>
                    <a:p>
                      <a:r>
                        <a:rPr lang="de-DE" sz="1200" dirty="0"/>
                        <a:t>Subsystem</a:t>
                      </a:r>
                    </a:p>
                  </a:txBody>
                  <a:tcPr/>
                </a:tc>
                <a:tc>
                  <a:txBody>
                    <a:bodyPr/>
                    <a:lstStyle/>
                    <a:p>
                      <a:r>
                        <a:rPr lang="de-DE" sz="1200" dirty="0"/>
                        <a:t>Wert</a:t>
                      </a:r>
                    </a:p>
                  </a:txBody>
                  <a:tcPr/>
                </a:tc>
                <a:tc>
                  <a:txBody>
                    <a:bodyPr/>
                    <a:lstStyle/>
                    <a:p>
                      <a:r>
                        <a:rPr lang="de-DE" sz="1200" dirty="0"/>
                        <a:t>Stufe</a:t>
                      </a:r>
                    </a:p>
                  </a:txBody>
                  <a:tcPr/>
                </a:tc>
                <a:tc>
                  <a:txBody>
                    <a:bodyPr/>
                    <a:lstStyle/>
                    <a:p>
                      <a:r>
                        <a:rPr lang="de-DE" sz="1200" dirty="0"/>
                        <a:t>Testkriterium</a:t>
                      </a:r>
                    </a:p>
                  </a:txBody>
                  <a:tcPr/>
                </a:tc>
                <a:tc>
                  <a:txBody>
                    <a:bodyPr/>
                    <a:lstStyle/>
                    <a:p>
                      <a:r>
                        <a:rPr lang="de-DE" sz="1200" dirty="0"/>
                        <a:t>Bemerkung</a:t>
                      </a:r>
                    </a:p>
                  </a:txBody>
                  <a:tcPr/>
                </a:tc>
                <a:extLst>
                  <a:ext uri="{0D108BD9-81ED-4DB2-BD59-A6C34878D82A}">
                    <a16:rowId xmlns:a16="http://schemas.microsoft.com/office/drawing/2014/main" val="3984744488"/>
                  </a:ext>
                </a:extLst>
              </a:tr>
              <a:tr h="1172715">
                <a:tc>
                  <a:txBody>
                    <a:bodyPr/>
                    <a:lstStyle/>
                    <a:p>
                      <a:pPr algn="ctr"/>
                      <a:r>
                        <a:rPr lang="de-DE" sz="1200" dirty="0"/>
                        <a:t>1</a:t>
                      </a:r>
                    </a:p>
                  </a:txBody>
                  <a:tcPr/>
                </a:tc>
                <a:tc>
                  <a:txBody>
                    <a:bodyPr/>
                    <a:lstStyle/>
                    <a:p>
                      <a:r>
                        <a:rPr lang="de-DE" sz="1200" b="1" dirty="0"/>
                        <a:t>Preis</a:t>
                      </a:r>
                    </a:p>
                  </a:txBody>
                  <a:tcPr/>
                </a:tc>
                <a:tc>
                  <a:txBody>
                    <a:bodyPr/>
                    <a:lstStyle/>
                    <a:p>
                      <a:r>
                        <a:rPr lang="de-DE" sz="1200" dirty="0"/>
                        <a:t>Herstellkosten (HK)</a:t>
                      </a:r>
                    </a:p>
                  </a:txBody>
                  <a:tcPr/>
                </a:tc>
                <a:tc>
                  <a:txBody>
                    <a:bodyPr/>
                    <a:lstStyle/>
                    <a:p>
                      <a:endParaRPr lang="de-DE" sz="1200" dirty="0"/>
                    </a:p>
                  </a:txBody>
                  <a:tcPr/>
                </a:tc>
                <a:tc>
                  <a:txBody>
                    <a:bodyPr/>
                    <a:lstStyle/>
                    <a:p>
                      <a:r>
                        <a:rPr lang="de-DE" sz="1200" dirty="0"/>
                        <a:t>&lt;100 CHF</a:t>
                      </a:r>
                    </a:p>
                  </a:txBody>
                  <a:tcPr/>
                </a:tc>
                <a:tc>
                  <a:txBody>
                    <a:bodyPr/>
                    <a:lstStyle/>
                    <a:p>
                      <a:r>
                        <a:rPr lang="de-DE" sz="1200" dirty="0"/>
                        <a:t>Nullserie</a:t>
                      </a:r>
                    </a:p>
                  </a:txBody>
                  <a:tcPr/>
                </a:tc>
                <a:tc>
                  <a:txBody>
                    <a:bodyPr/>
                    <a:lstStyle/>
                    <a:p>
                      <a:r>
                        <a:rPr lang="de-DE" sz="1200" dirty="0"/>
                        <a:t>-</a:t>
                      </a:r>
                    </a:p>
                  </a:txBody>
                  <a:tcPr/>
                </a:tc>
                <a:tc>
                  <a:txBody>
                    <a:bodyPr/>
                    <a:lstStyle/>
                    <a:p>
                      <a:r>
                        <a:rPr lang="de-DE" sz="1200" i="1" dirty="0"/>
                        <a:t>1.</a:t>
                      </a:r>
                      <a:r>
                        <a:rPr lang="de-DE" sz="1200" i="1" baseline="0" dirty="0"/>
                        <a:t> Kalkulation nach Konzeptphase</a:t>
                      </a:r>
                      <a:br>
                        <a:rPr lang="de-DE" sz="1200" i="1" baseline="0" dirty="0"/>
                      </a:br>
                      <a:r>
                        <a:rPr lang="de-DE" sz="1200" i="1" baseline="0" dirty="0"/>
                        <a:t>2. Anfrage Lieferanten mit Prototyp</a:t>
                      </a:r>
                      <a:endParaRPr lang="de-DE" sz="1200" i="1" dirty="0"/>
                    </a:p>
                  </a:txBody>
                  <a:tcPr/>
                </a:tc>
                <a:extLst>
                  <a:ext uri="{0D108BD9-81ED-4DB2-BD59-A6C34878D82A}">
                    <a16:rowId xmlns:a16="http://schemas.microsoft.com/office/drawing/2014/main" val="962611938"/>
                  </a:ext>
                </a:extLst>
              </a:tr>
              <a:tr h="317068">
                <a:tc>
                  <a:txBody>
                    <a:bodyPr/>
                    <a:lstStyle/>
                    <a:p>
                      <a:pPr algn="ctr"/>
                      <a:r>
                        <a:rPr lang="de-DE" sz="1200" dirty="0"/>
                        <a:t>2</a:t>
                      </a:r>
                    </a:p>
                  </a:txBody>
                  <a:tcPr/>
                </a:tc>
                <a:tc>
                  <a:txBody>
                    <a:bodyPr/>
                    <a:lstStyle/>
                    <a:p>
                      <a:r>
                        <a:rPr lang="de-DE" sz="1200" b="1" dirty="0"/>
                        <a:t>Normen</a:t>
                      </a:r>
                    </a:p>
                  </a:txBody>
                  <a:tcPr/>
                </a:tc>
                <a:tc>
                  <a:txBody>
                    <a:bodyPr/>
                    <a:lstStyle/>
                    <a:p>
                      <a:r>
                        <a:rPr lang="de-DE" sz="1200" dirty="0"/>
                        <a:t>IP</a:t>
                      </a:r>
                      <a:r>
                        <a:rPr lang="de-DE" sz="1200" baseline="0" dirty="0"/>
                        <a:t> Schutz</a:t>
                      </a:r>
                      <a:endParaRPr lang="de-DE" sz="1200" dirty="0"/>
                    </a:p>
                  </a:txBody>
                  <a:tcPr/>
                </a:tc>
                <a:tc>
                  <a:txBody>
                    <a:bodyPr/>
                    <a:lstStyle/>
                    <a:p>
                      <a:r>
                        <a:rPr lang="de-DE" sz="1200" dirty="0"/>
                        <a:t>Gehäuse</a:t>
                      </a:r>
                    </a:p>
                  </a:txBody>
                  <a:tcPr/>
                </a:tc>
                <a:tc>
                  <a:txBody>
                    <a:bodyPr/>
                    <a:lstStyle/>
                    <a:p>
                      <a:r>
                        <a:rPr lang="de-DE" sz="1200" dirty="0"/>
                        <a:t>54</a:t>
                      </a:r>
                    </a:p>
                  </a:txBody>
                  <a:tcPr/>
                </a:tc>
                <a:tc>
                  <a:txBody>
                    <a:bodyPr/>
                    <a:lstStyle/>
                    <a:p>
                      <a:r>
                        <a:rPr lang="de-DE" sz="1200" dirty="0"/>
                        <a:t>Prototyp</a:t>
                      </a:r>
                    </a:p>
                  </a:txBody>
                  <a:tcPr/>
                </a:tc>
                <a:tc>
                  <a:txBody>
                    <a:bodyPr/>
                    <a:lstStyle/>
                    <a:p>
                      <a:r>
                        <a:rPr lang="de-DE" sz="1200" dirty="0"/>
                        <a:t>Test mit Prototyp</a:t>
                      </a:r>
                    </a:p>
                  </a:txBody>
                  <a:tcPr/>
                </a:tc>
                <a:tc>
                  <a:txBody>
                    <a:bodyPr/>
                    <a:lstStyle/>
                    <a:p>
                      <a:endParaRPr lang="de-DE" sz="1200" dirty="0"/>
                    </a:p>
                  </a:txBody>
                  <a:tcPr/>
                </a:tc>
                <a:extLst>
                  <a:ext uri="{0D108BD9-81ED-4DB2-BD59-A6C34878D82A}">
                    <a16:rowId xmlns:a16="http://schemas.microsoft.com/office/drawing/2014/main" val="2049558419"/>
                  </a:ext>
                </a:extLst>
              </a:tr>
              <a:tr h="317068">
                <a:tc>
                  <a:txBody>
                    <a:bodyPr/>
                    <a:lstStyle/>
                    <a:p>
                      <a:pPr algn="ctr"/>
                      <a:r>
                        <a:rPr lang="de-DE" sz="1200" dirty="0"/>
                        <a:t>3</a:t>
                      </a:r>
                    </a:p>
                  </a:txBody>
                  <a:tcPr/>
                </a:tc>
                <a:tc>
                  <a:txBody>
                    <a:bodyPr/>
                    <a:lstStyle/>
                    <a:p>
                      <a:r>
                        <a:rPr lang="de-DE" sz="1200" b="1" dirty="0"/>
                        <a:t>Lebensdauer</a:t>
                      </a:r>
                    </a:p>
                  </a:txBody>
                  <a:tcPr/>
                </a:tc>
                <a:tc>
                  <a:txBody>
                    <a:bodyPr/>
                    <a:lstStyle/>
                    <a:p>
                      <a:r>
                        <a:rPr lang="de-DE" sz="1200" baseline="0" dirty="0"/>
                        <a:t>4 Jahre Nutzungsdauer</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a:t>Kunde</a:t>
                      </a:r>
                    </a:p>
                  </a:txBody>
                  <a:tcPr/>
                </a:tc>
                <a:tc>
                  <a:txBody>
                    <a:bodyPr/>
                    <a:lstStyle/>
                    <a:p>
                      <a:endParaRPr lang="de-DE" sz="1200" dirty="0"/>
                    </a:p>
                  </a:txBody>
                  <a:tcPr/>
                </a:tc>
                <a:tc>
                  <a:txBody>
                    <a:bodyPr/>
                    <a:lstStyle/>
                    <a:p>
                      <a:endParaRPr lang="de-DE" sz="1200" dirty="0"/>
                    </a:p>
                  </a:txBody>
                  <a:tcPr/>
                </a:tc>
                <a:extLst>
                  <a:ext uri="{0D108BD9-81ED-4DB2-BD59-A6C34878D82A}">
                    <a16:rowId xmlns:a16="http://schemas.microsoft.com/office/drawing/2014/main" val="2392146364"/>
                  </a:ext>
                </a:extLst>
              </a:tr>
              <a:tr h="1537560">
                <a:tc>
                  <a:txBody>
                    <a:bodyPr/>
                    <a:lstStyle/>
                    <a:p>
                      <a:pPr algn="ctr"/>
                      <a:r>
                        <a:rPr lang="de-DE" sz="1200" dirty="0"/>
                        <a:t>4</a:t>
                      </a:r>
                    </a:p>
                  </a:txBody>
                  <a:tcPr/>
                </a:tc>
                <a:tc>
                  <a:txBody>
                    <a:bodyPr/>
                    <a:lstStyle/>
                    <a:p>
                      <a:r>
                        <a:rPr lang="de-DE" sz="1200" b="1" dirty="0"/>
                        <a:t>Benutzer</a:t>
                      </a:r>
                    </a:p>
                  </a:txBody>
                  <a:tcPr/>
                </a:tc>
                <a:tc>
                  <a:txBody>
                    <a:bodyPr/>
                    <a:lstStyle/>
                    <a:p>
                      <a:r>
                        <a:rPr lang="de-DE" sz="1200" dirty="0"/>
                        <a:t>Gerät muss ohne Vorkenntnisse</a:t>
                      </a:r>
                      <a:r>
                        <a:rPr lang="de-DE" sz="1200" baseline="0" dirty="0"/>
                        <a:t> bedient werden können</a:t>
                      </a:r>
                      <a:endParaRPr lang="de-DE" sz="1200" dirty="0"/>
                    </a:p>
                  </a:txBody>
                  <a:tcPr/>
                </a:tc>
                <a:tc>
                  <a:txBody>
                    <a:bodyPr/>
                    <a:lstStyle/>
                    <a:p>
                      <a:endParaRPr lang="de-DE" sz="1200" dirty="0"/>
                    </a:p>
                  </a:txBody>
                  <a:tcPr/>
                </a:tc>
                <a:tc>
                  <a:txBody>
                    <a:bodyPr/>
                    <a:lstStyle/>
                    <a:p>
                      <a:r>
                        <a:rPr lang="de-DE" sz="1200" dirty="0"/>
                        <a:t>- </a:t>
                      </a:r>
                    </a:p>
                  </a:txBody>
                  <a:tcPr/>
                </a:tc>
                <a:tc>
                  <a:txBody>
                    <a:bodyPr/>
                    <a:lstStyle/>
                    <a:p>
                      <a:r>
                        <a:rPr lang="de-DE" sz="1200" dirty="0"/>
                        <a:t>Prototyp</a:t>
                      </a:r>
                    </a:p>
                  </a:txBody>
                  <a:tcPr/>
                </a:tc>
                <a:tc>
                  <a:txBody>
                    <a:bodyPr/>
                    <a:lstStyle/>
                    <a:p>
                      <a:r>
                        <a:rPr lang="de-DE" sz="1200" dirty="0"/>
                        <a:t>Software:</a:t>
                      </a:r>
                      <a:r>
                        <a:rPr lang="de-DE" sz="1200" baseline="0" dirty="0"/>
                        <a:t> Usertests nach Konzeptphase mit 10 Fahrern</a:t>
                      </a:r>
                      <a:br>
                        <a:rPr lang="de-DE" sz="1200" baseline="0" dirty="0"/>
                      </a:br>
                      <a:r>
                        <a:rPr lang="de-DE" sz="1200" baseline="0" dirty="0"/>
                        <a:t>Installation: Einbau des Prototyps in eine Fahrzeug</a:t>
                      </a:r>
                      <a:endParaRPr lang="de-DE" sz="1200" dirty="0"/>
                    </a:p>
                  </a:txBody>
                  <a:tcPr/>
                </a:tc>
                <a:tc>
                  <a:txBody>
                    <a:bodyPr/>
                    <a:lstStyle/>
                    <a:p>
                      <a:endParaRPr lang="de-DE" sz="1200" dirty="0"/>
                    </a:p>
                  </a:txBody>
                  <a:tcPr/>
                </a:tc>
                <a:extLst>
                  <a:ext uri="{0D108BD9-81ED-4DB2-BD59-A6C34878D82A}">
                    <a16:rowId xmlns:a16="http://schemas.microsoft.com/office/drawing/2014/main" val="1092249854"/>
                  </a:ext>
                </a:extLst>
              </a:tr>
            </a:tbl>
          </a:graphicData>
        </a:graphic>
      </p:graphicFrame>
      <p:sp>
        <p:nvSpPr>
          <p:cNvPr id="7" name="Text Placeholder 6"/>
          <p:cNvSpPr>
            <a:spLocks noGrp="1"/>
          </p:cNvSpPr>
          <p:nvPr>
            <p:ph type="body" sz="quarter" idx="24"/>
          </p:nvPr>
        </p:nvSpPr>
        <p:spPr/>
        <p:txBody>
          <a:bodyPr>
            <a:normAutofit fontScale="92500" lnSpcReduction="20000"/>
          </a:bodyPr>
          <a:lstStyle/>
          <a:p>
            <a:r>
              <a:rPr lang="de-DE" dirty="0"/>
              <a:t>Anforderungsmanagement</a:t>
            </a:r>
          </a:p>
        </p:txBody>
      </p:sp>
      <p:sp>
        <p:nvSpPr>
          <p:cNvPr id="6" name="Line Callout 2 5"/>
          <p:cNvSpPr/>
          <p:nvPr/>
        </p:nvSpPr>
        <p:spPr>
          <a:xfrm>
            <a:off x="5385732" y="1606509"/>
            <a:ext cx="1879134" cy="559183"/>
          </a:xfrm>
          <a:prstGeom prst="borderCallout2">
            <a:avLst>
              <a:gd name="adj1" fmla="val 18750"/>
              <a:gd name="adj2" fmla="val -8333"/>
              <a:gd name="adj3" fmla="val 18750"/>
              <a:gd name="adj4" fmla="val -16667"/>
              <a:gd name="adj5" fmla="val 144005"/>
              <a:gd name="adj6" fmla="val -16127"/>
            </a:avLst>
          </a:prstGeom>
          <a:noFill/>
          <a:ln w="28575"/>
          <a:effectLst/>
        </p:spPr>
        <p:style>
          <a:lnRef idx="1">
            <a:schemeClr val="accent1"/>
          </a:lnRef>
          <a:fillRef idx="3">
            <a:schemeClr val="accent1"/>
          </a:fillRef>
          <a:effectRef idx="2">
            <a:schemeClr val="accent1"/>
          </a:effectRef>
          <a:fontRef idx="minor">
            <a:schemeClr val="lt1"/>
          </a:fontRef>
        </p:style>
        <p:txBody>
          <a:bodyPr rtlCol="0" anchor="t"/>
          <a:lstStyle/>
          <a:p>
            <a:pPr algn="l"/>
            <a:r>
              <a:rPr lang="de-DE" sz="1100" dirty="0">
                <a:solidFill>
                  <a:schemeClr val="tx1"/>
                </a:solidFill>
              </a:rPr>
              <a:t>Wenn die Anforderung nur von einem Teil des System erfüllt werden muss.</a:t>
            </a:r>
          </a:p>
        </p:txBody>
      </p:sp>
      <p:sp>
        <p:nvSpPr>
          <p:cNvPr id="10" name="Line Callout 2 9"/>
          <p:cNvSpPr/>
          <p:nvPr/>
        </p:nvSpPr>
        <p:spPr>
          <a:xfrm>
            <a:off x="8281332" y="1600458"/>
            <a:ext cx="1879134" cy="559183"/>
          </a:xfrm>
          <a:prstGeom prst="borderCallout2">
            <a:avLst>
              <a:gd name="adj1" fmla="val 18750"/>
              <a:gd name="adj2" fmla="val -8333"/>
              <a:gd name="adj3" fmla="val 18750"/>
              <a:gd name="adj4" fmla="val -16667"/>
              <a:gd name="adj5" fmla="val 144005"/>
              <a:gd name="adj6" fmla="val -16127"/>
            </a:avLst>
          </a:prstGeom>
          <a:noFill/>
          <a:ln w="28575"/>
          <a:effectLst/>
        </p:spPr>
        <p:style>
          <a:lnRef idx="1">
            <a:schemeClr val="accent1"/>
          </a:lnRef>
          <a:fillRef idx="3">
            <a:schemeClr val="accent1"/>
          </a:fillRef>
          <a:effectRef idx="2">
            <a:schemeClr val="accent1"/>
          </a:effectRef>
          <a:fontRef idx="minor">
            <a:schemeClr val="lt1"/>
          </a:fontRef>
        </p:style>
        <p:txBody>
          <a:bodyPr rtlCol="0" anchor="t"/>
          <a:lstStyle/>
          <a:p>
            <a:pPr algn="l"/>
            <a:r>
              <a:rPr lang="de-DE" sz="1100" dirty="0">
                <a:solidFill>
                  <a:schemeClr val="tx1"/>
                </a:solidFill>
              </a:rPr>
              <a:t>Auf welcher Stufe die Verifizierung bzw. Validierung stattfindet</a:t>
            </a:r>
          </a:p>
        </p:txBody>
      </p:sp>
    </p:spTree>
    <p:extLst>
      <p:ext uri="{BB962C8B-B14F-4D97-AF65-F5344CB8AC3E}">
        <p14:creationId xmlns:p14="http://schemas.microsoft.com/office/powerpoint/2010/main" val="42066460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C293EB18-A62B-72F3-2AD0-6560F9C8BC78}"/>
              </a:ext>
            </a:extLst>
          </p:cNvPr>
          <p:cNvGraphicFramePr>
            <a:graphicFrameLocks noChangeAspect="1"/>
          </p:cNvGraphicFramePr>
          <p:nvPr>
            <p:custDataLst>
              <p:tags r:id="rId1"/>
            </p:custDataLst>
            <p:extLst>
              <p:ext uri="{D42A27DB-BD31-4B8C-83A1-F6EECF244321}">
                <p14:modId xmlns:p14="http://schemas.microsoft.com/office/powerpoint/2010/main" val="2408540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10" name="think-cell data - do not delete" hidden="1">
                        <a:extLst>
                          <a:ext uri="{FF2B5EF4-FFF2-40B4-BE49-F238E27FC236}">
                            <a16:creationId xmlns:a16="http://schemas.microsoft.com/office/drawing/2014/main" id="{C293EB18-A62B-72F3-2AD0-6560F9C8BC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6"/>
          </p:nvPr>
        </p:nvSpPr>
        <p:spPr/>
        <p:txBody>
          <a:bodyPr/>
          <a:lstStyle/>
          <a:p>
            <a:fld id="{6063E8F7-BFA8-4F27-8DDA-53F08430255C}" type="datetime4">
              <a:rPr lang="de-CH" smtClean="0"/>
              <a:t>26. September 2023</a:t>
            </a:fld>
            <a:endParaRPr lang="de-CH" dirty="0"/>
          </a:p>
        </p:txBody>
      </p:sp>
      <p:sp>
        <p:nvSpPr>
          <p:cNvPr id="3" name="Footer Placeholder 2"/>
          <p:cNvSpPr>
            <a:spLocks noGrp="1"/>
          </p:cNvSpPr>
          <p:nvPr>
            <p:ph type="ftr" sz="quarter" idx="17"/>
          </p:nvPr>
        </p:nvSpPr>
        <p:spPr/>
        <p:txBody>
          <a:bodyPr/>
          <a:lstStyle/>
          <a:p>
            <a:r>
              <a:rPr lang="de-CH"/>
              <a:t>Wissensnugget - Qualität</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19</a:t>
            </a:fld>
            <a:endParaRPr lang="de-CH" dirty="0"/>
          </a:p>
        </p:txBody>
      </p:sp>
      <p:sp>
        <p:nvSpPr>
          <p:cNvPr id="5" name="Title 4"/>
          <p:cNvSpPr>
            <a:spLocks noGrp="1"/>
          </p:cNvSpPr>
          <p:nvPr>
            <p:ph type="title"/>
          </p:nvPr>
        </p:nvSpPr>
        <p:spPr/>
        <p:txBody>
          <a:bodyPr vert="horz"/>
          <a:lstStyle/>
          <a:p>
            <a:r>
              <a:rPr lang="de-DE" dirty="0"/>
              <a:t>Beispiel Anforderungskatalog (II)</a:t>
            </a:r>
          </a:p>
        </p:txBody>
      </p:sp>
      <p:sp>
        <p:nvSpPr>
          <p:cNvPr id="6" name="Content Placeholder 5"/>
          <p:cNvSpPr>
            <a:spLocks noGrp="1"/>
          </p:cNvSpPr>
          <p:nvPr>
            <p:ph sz="quarter" idx="21"/>
          </p:nvPr>
        </p:nvSpPr>
        <p:spPr/>
        <p:txBody>
          <a:bodyPr/>
          <a:lstStyle/>
          <a:p>
            <a:r>
              <a:rPr lang="de-DE" dirty="0"/>
              <a:t>Der Anforderungskatalog wird während dem Projekt laufend ergänzt.</a:t>
            </a:r>
          </a:p>
        </p:txBody>
      </p:sp>
      <p:sp>
        <p:nvSpPr>
          <p:cNvPr id="7" name="Text Placeholder 6"/>
          <p:cNvSpPr>
            <a:spLocks noGrp="1"/>
          </p:cNvSpPr>
          <p:nvPr>
            <p:ph type="body" sz="quarter" idx="24"/>
          </p:nvPr>
        </p:nvSpPr>
        <p:spPr/>
        <p:txBody>
          <a:bodyPr>
            <a:normAutofit fontScale="92500" lnSpcReduction="20000"/>
          </a:bodyPr>
          <a:lstStyle/>
          <a:p>
            <a:r>
              <a:rPr lang="de-DE" dirty="0"/>
              <a:t>Anforderungsmanagement</a:t>
            </a:r>
          </a:p>
        </p:txBody>
      </p:sp>
      <p:pic>
        <p:nvPicPr>
          <p:cNvPr id="8" name="Picture 7"/>
          <p:cNvPicPr>
            <a:picLocks noChangeAspect="1"/>
          </p:cNvPicPr>
          <p:nvPr/>
        </p:nvPicPr>
        <p:blipFill>
          <a:blip r:embed="rId5"/>
          <a:stretch>
            <a:fillRect/>
          </a:stretch>
        </p:blipFill>
        <p:spPr>
          <a:xfrm>
            <a:off x="115302" y="1877083"/>
            <a:ext cx="12021123" cy="4354172"/>
          </a:xfrm>
          <a:prstGeom prst="rect">
            <a:avLst/>
          </a:prstGeom>
        </p:spPr>
      </p:pic>
    </p:spTree>
    <p:extLst>
      <p:ext uri="{BB962C8B-B14F-4D97-AF65-F5344CB8AC3E}">
        <p14:creationId xmlns:p14="http://schemas.microsoft.com/office/powerpoint/2010/main" val="11254610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67AD0EF-6BC8-BC71-E232-7EBD223C39F1}"/>
              </a:ext>
            </a:extLst>
          </p:cNvPr>
          <p:cNvGraphicFramePr>
            <a:graphicFrameLocks noChangeAspect="1"/>
          </p:cNvGraphicFramePr>
          <p:nvPr>
            <p:custDataLst>
              <p:tags r:id="rId1"/>
            </p:custDataLst>
            <p:extLst>
              <p:ext uri="{D42A27DB-BD31-4B8C-83A1-F6EECF244321}">
                <p14:modId xmlns:p14="http://schemas.microsoft.com/office/powerpoint/2010/main" val="878900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9" name="think-cell data - do not delete" hidden="1">
                        <a:extLst>
                          <a:ext uri="{FF2B5EF4-FFF2-40B4-BE49-F238E27FC236}">
                            <a16:creationId xmlns:a16="http://schemas.microsoft.com/office/drawing/2014/main" id="{867AD0EF-6BC8-BC71-E232-7EBD223C39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p:cNvSpPr>
            <a:spLocks noGrp="1"/>
          </p:cNvSpPr>
          <p:nvPr>
            <p:ph type="dt" sz="half" idx="16"/>
          </p:nvPr>
        </p:nvSpPr>
        <p:spPr/>
        <p:txBody>
          <a:bodyPr/>
          <a:lstStyle/>
          <a:p>
            <a:fld id="{E3525CA7-4693-4726-8D18-77241CFA0C5F}" type="datetime4">
              <a:rPr lang="de-CH" smtClean="0"/>
              <a:t>26. September 2023</a:t>
            </a:fld>
            <a:endParaRPr lang="de-CH" dirty="0"/>
          </a:p>
        </p:txBody>
      </p:sp>
      <p:sp>
        <p:nvSpPr>
          <p:cNvPr id="3" name="Fußzeilenplatzhalter 2"/>
          <p:cNvSpPr>
            <a:spLocks noGrp="1"/>
          </p:cNvSpPr>
          <p:nvPr>
            <p:ph type="ftr" sz="quarter" idx="17"/>
          </p:nvPr>
        </p:nvSpPr>
        <p:spPr/>
        <p:txBody>
          <a:bodyPr/>
          <a:lstStyle/>
          <a:p>
            <a:r>
              <a:rPr lang="de-CH"/>
              <a:t>Wissensnugget - Qualität</a:t>
            </a:r>
            <a:endParaRPr lang="de-CH" dirty="0"/>
          </a:p>
        </p:txBody>
      </p:sp>
      <p:sp>
        <p:nvSpPr>
          <p:cNvPr id="4" name="Foliennummernplatzhalter 3"/>
          <p:cNvSpPr>
            <a:spLocks noGrp="1"/>
          </p:cNvSpPr>
          <p:nvPr>
            <p:ph type="sldNum" sz="quarter" idx="18"/>
          </p:nvPr>
        </p:nvSpPr>
        <p:spPr/>
        <p:txBody>
          <a:bodyPr/>
          <a:lstStyle/>
          <a:p>
            <a:fld id="{4EAC321B-7500-4259-A00F-915439A35E15}" type="slidenum">
              <a:rPr lang="de-CH" smtClean="0"/>
              <a:pPr/>
              <a:t>2</a:t>
            </a:fld>
            <a:endParaRPr lang="de-CH" dirty="0"/>
          </a:p>
        </p:txBody>
      </p:sp>
      <p:sp>
        <p:nvSpPr>
          <p:cNvPr id="5" name="Titel 4"/>
          <p:cNvSpPr>
            <a:spLocks noGrp="1"/>
          </p:cNvSpPr>
          <p:nvPr>
            <p:ph type="title"/>
          </p:nvPr>
        </p:nvSpPr>
        <p:spPr/>
        <p:txBody>
          <a:bodyPr vert="horz"/>
          <a:lstStyle/>
          <a:p>
            <a:r>
              <a:rPr lang="de-CH" dirty="0"/>
              <a:t>Warum Qualitätssicherung</a:t>
            </a:r>
          </a:p>
        </p:txBody>
      </p:sp>
      <p:sp>
        <p:nvSpPr>
          <p:cNvPr id="6" name="Inhaltsplatzhalter 5"/>
          <p:cNvSpPr>
            <a:spLocks noGrp="1"/>
          </p:cNvSpPr>
          <p:nvPr>
            <p:ph sz="quarter" idx="21"/>
          </p:nvPr>
        </p:nvSpPr>
        <p:spPr/>
        <p:txBody>
          <a:bodyPr>
            <a:normAutofit/>
          </a:bodyPr>
          <a:lstStyle/>
          <a:p>
            <a:r>
              <a:rPr lang="de-CH" dirty="0"/>
              <a:t>Qualitätssicherung ist ein entscheidender Aspekt in der Produktentwicklung</a:t>
            </a:r>
          </a:p>
          <a:p>
            <a:r>
              <a:rPr lang="de-CH" dirty="0"/>
              <a:t>Es muss sichergestellt werden, dass ein Produkt funktional und effizient ist, und auch, dass es die tatsächlichen Bedürfnisse und Erwartungen der Benutzer erfüllt</a:t>
            </a:r>
          </a:p>
          <a:p>
            <a:r>
              <a:rPr lang="de-CH" dirty="0"/>
              <a:t>Gerade in agilen Projekten ist die Qualitätssicherung ein integraler Bestandteil des Entwicklungsprozesses, wobei kontinuierliche Tests und Anpassungen gewährleisten, dass das Produkt den sich verändernden Anforderungen und Rückmeldungen der Benutzer gerecht wird</a:t>
            </a:r>
          </a:p>
          <a:p>
            <a:endParaRPr lang="de-CH" dirty="0"/>
          </a:p>
          <a:p>
            <a:endParaRPr lang="de-CH" dirty="0"/>
          </a:p>
          <a:p>
            <a:endParaRPr lang="de-CH" dirty="0"/>
          </a:p>
          <a:p>
            <a:endParaRPr lang="de-CH" dirty="0"/>
          </a:p>
          <a:p>
            <a:endParaRPr lang="de-CH" dirty="0"/>
          </a:p>
          <a:p>
            <a:endParaRPr lang="de-CH" dirty="0"/>
          </a:p>
        </p:txBody>
      </p:sp>
      <p:sp>
        <p:nvSpPr>
          <p:cNvPr id="7" name="Textplatzhalter 6"/>
          <p:cNvSpPr>
            <a:spLocks noGrp="1"/>
          </p:cNvSpPr>
          <p:nvPr>
            <p:ph type="body" sz="quarter" idx="24"/>
          </p:nvPr>
        </p:nvSpPr>
        <p:spPr/>
        <p:txBody>
          <a:bodyPr>
            <a:normAutofit fontScale="92500" lnSpcReduction="20000"/>
          </a:bodyPr>
          <a:lstStyle/>
          <a:p>
            <a:endParaRPr lang="de-CH"/>
          </a:p>
        </p:txBody>
      </p:sp>
      <p:sp>
        <p:nvSpPr>
          <p:cNvPr id="8" name="Rectangle 8">
            <a:extLst>
              <a:ext uri="{FF2B5EF4-FFF2-40B4-BE49-F238E27FC236}">
                <a16:creationId xmlns:a16="http://schemas.microsoft.com/office/drawing/2014/main" id="{F69DA708-2C25-A15B-D75D-7E4F44E2728B}"/>
              </a:ext>
            </a:extLst>
          </p:cNvPr>
          <p:cNvSpPr/>
          <p:nvPr/>
        </p:nvSpPr>
        <p:spPr>
          <a:xfrm>
            <a:off x="802959" y="4446416"/>
            <a:ext cx="11057254" cy="962196"/>
          </a:xfrm>
          <a:prstGeom prst="rect">
            <a:avLst/>
          </a:prstGeom>
          <a:solidFill>
            <a:srgbClr val="8C195F"/>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2000" dirty="0">
                <a:solidFill>
                  <a:schemeClr val="bg1"/>
                </a:solidFill>
              </a:rPr>
              <a:t>Die Qualität muss in jedem Schritt des Designzyklus sichergestellt werden</a:t>
            </a:r>
          </a:p>
          <a:p>
            <a:pPr algn="ctr"/>
            <a:r>
              <a:rPr lang="de-CH" sz="2000" dirty="0"/>
              <a:t>Um dies zu erreichen, werden in diesem Wissensnugget zu jeder Phase Tipps gegeben</a:t>
            </a:r>
            <a:endParaRPr lang="de-CH" sz="2000" dirty="0">
              <a:solidFill>
                <a:schemeClr val="bg1"/>
              </a:solidFill>
            </a:endParaRPr>
          </a:p>
        </p:txBody>
      </p:sp>
    </p:spTree>
    <p:extLst>
      <p:ext uri="{BB962C8B-B14F-4D97-AF65-F5344CB8AC3E}">
        <p14:creationId xmlns:p14="http://schemas.microsoft.com/office/powerpoint/2010/main" val="37498428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445B437-43A0-3ED2-8D7A-D7B9B9554D62}"/>
              </a:ext>
            </a:extLst>
          </p:cNvPr>
          <p:cNvGraphicFramePr>
            <a:graphicFrameLocks noChangeAspect="1"/>
          </p:cNvGraphicFramePr>
          <p:nvPr>
            <p:custDataLst>
              <p:tags r:id="rId1"/>
            </p:custDataLst>
            <p:extLst>
              <p:ext uri="{D42A27DB-BD31-4B8C-83A1-F6EECF244321}">
                <p14:modId xmlns:p14="http://schemas.microsoft.com/office/powerpoint/2010/main" val="2492902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7" name="think-cell data - do not delete" hidden="1">
                        <a:extLst>
                          <a:ext uri="{FF2B5EF4-FFF2-40B4-BE49-F238E27FC236}">
                            <a16:creationId xmlns:a16="http://schemas.microsoft.com/office/drawing/2014/main" id="{2445B437-43A0-3ED2-8D7A-D7B9B9554D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Placeholder 12"/>
          <p:cNvPicPr>
            <a:picLocks noGrp="1" noChangeAspect="1"/>
          </p:cNvPicPr>
          <p:nvPr>
            <p:ph type="pic" sz="quarter" idx="12"/>
          </p:nvPr>
        </p:nvPicPr>
        <p:blipFill>
          <a:blip r:embed="rId6"/>
          <a:srcRect t="18451" b="18451"/>
          <a:stretch/>
        </p:blipFill>
        <p:spPr/>
      </p:pic>
      <p:sp>
        <p:nvSpPr>
          <p:cNvPr id="8" name="Title 7"/>
          <p:cNvSpPr>
            <a:spLocks noGrp="1"/>
          </p:cNvSpPr>
          <p:nvPr>
            <p:ph type="ctrTitle"/>
          </p:nvPr>
        </p:nvSpPr>
        <p:spPr>
          <a:xfrm>
            <a:off x="5338531" y="3550464"/>
            <a:ext cx="5957391" cy="674200"/>
          </a:xfrm>
        </p:spPr>
        <p:txBody>
          <a:bodyPr vert="horz"/>
          <a:lstStyle/>
          <a:p>
            <a:r>
              <a:rPr lang="de-DE" sz="3200" dirty="0"/>
              <a:t>Design Prototyp</a:t>
            </a:r>
            <a:endParaRPr lang="de-DE" dirty="0"/>
          </a:p>
        </p:txBody>
      </p:sp>
      <p:sp>
        <p:nvSpPr>
          <p:cNvPr id="10" name="Text Placeholder 9"/>
          <p:cNvSpPr>
            <a:spLocks noGrp="1"/>
          </p:cNvSpPr>
          <p:nvPr>
            <p:ph type="body" sz="quarter" idx="13"/>
          </p:nvPr>
        </p:nvSpPr>
        <p:spPr/>
        <p:txBody>
          <a:bodyPr/>
          <a:lstStyle/>
          <a:p>
            <a:endParaRPr lang="en-US" dirty="0"/>
          </a:p>
        </p:txBody>
      </p:sp>
      <p:sp>
        <p:nvSpPr>
          <p:cNvPr id="3" name="Footer Placeholder 2"/>
          <p:cNvSpPr>
            <a:spLocks noGrp="1"/>
          </p:cNvSpPr>
          <p:nvPr>
            <p:ph type="ftr" sz="quarter" idx="4294967295"/>
          </p:nvPr>
        </p:nvSpPr>
        <p:spPr>
          <a:xfrm>
            <a:off x="538163" y="6454775"/>
            <a:ext cx="5364163" cy="333375"/>
          </a:xfrm>
        </p:spPr>
        <p:txBody>
          <a:bodyPr/>
          <a:lstStyle/>
          <a:p>
            <a:r>
              <a:rPr lang="en-US"/>
              <a:t>Wissensnugget - Qualität</a:t>
            </a:r>
            <a:endParaRPr lang="de-CH" dirty="0"/>
          </a:p>
        </p:txBody>
      </p:sp>
      <p:sp>
        <p:nvSpPr>
          <p:cNvPr id="4" name="Slide Number Placeholder 3"/>
          <p:cNvSpPr>
            <a:spLocks noGrp="1"/>
          </p:cNvSpPr>
          <p:nvPr>
            <p:ph type="sldNum" sz="quarter" idx="4294967295"/>
          </p:nvPr>
        </p:nvSpPr>
        <p:spPr>
          <a:xfrm>
            <a:off x="0" y="6453188"/>
            <a:ext cx="538163" cy="179387"/>
          </a:xfrm>
        </p:spPr>
        <p:txBody>
          <a:bodyPr/>
          <a:lstStyle/>
          <a:p>
            <a:fld id="{4EAC321B-7500-4259-A00F-915439A35E15}" type="slidenum">
              <a:rPr lang="de-CH" smtClean="0"/>
              <a:pPr/>
              <a:t>20</a:t>
            </a:fld>
            <a:endParaRPr lang="de-CH" dirty="0"/>
          </a:p>
        </p:txBody>
      </p:sp>
      <p:sp>
        <p:nvSpPr>
          <p:cNvPr id="2" name="Date Placeholder 1"/>
          <p:cNvSpPr>
            <a:spLocks noGrp="1"/>
          </p:cNvSpPr>
          <p:nvPr>
            <p:ph type="dt" sz="half" idx="10"/>
          </p:nvPr>
        </p:nvSpPr>
        <p:spPr/>
        <p:txBody>
          <a:bodyPr/>
          <a:lstStyle/>
          <a:p>
            <a:fld id="{07CAA73C-AC79-4B90-9F82-18D5F7C36776}" type="datetime4">
              <a:rPr lang="de-CH" smtClean="0"/>
              <a:t>26. September 2023</a:t>
            </a:fld>
            <a:endParaRPr lang="de-CH" dirty="0"/>
          </a:p>
        </p:txBody>
      </p:sp>
    </p:spTree>
    <p:extLst>
      <p:ext uri="{BB962C8B-B14F-4D97-AF65-F5344CB8AC3E}">
        <p14:creationId xmlns:p14="http://schemas.microsoft.com/office/powerpoint/2010/main" val="8901119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0AE1362-57E1-9996-A04F-1AC4C1C0729A}"/>
              </a:ext>
            </a:extLst>
          </p:cNvPr>
          <p:cNvGraphicFramePr>
            <a:graphicFrameLocks noChangeAspect="1"/>
          </p:cNvGraphicFramePr>
          <p:nvPr>
            <p:custDataLst>
              <p:tags r:id="rId1"/>
            </p:custDataLst>
            <p:extLst>
              <p:ext uri="{D42A27DB-BD31-4B8C-83A1-F6EECF244321}">
                <p14:modId xmlns:p14="http://schemas.microsoft.com/office/powerpoint/2010/main" val="1738414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9" name="think-cell data - do not delete" hidden="1">
                        <a:extLst>
                          <a:ext uri="{FF2B5EF4-FFF2-40B4-BE49-F238E27FC236}">
                            <a16:creationId xmlns:a16="http://schemas.microsoft.com/office/drawing/2014/main" id="{80AE1362-57E1-9996-A04F-1AC4C1C072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DDBC1C07-376B-5771-1DC7-7923B309037C}"/>
              </a:ext>
            </a:extLst>
          </p:cNvPr>
          <p:cNvSpPr>
            <a:spLocks noGrp="1"/>
          </p:cNvSpPr>
          <p:nvPr>
            <p:ph type="dt" sz="half" idx="16"/>
          </p:nvPr>
        </p:nvSpPr>
        <p:spPr/>
        <p:txBody>
          <a:bodyPr/>
          <a:lstStyle/>
          <a:p>
            <a:fld id="{BF0A2938-B5FB-46A4-9420-0404C831CCF9}" type="datetime4">
              <a:rPr lang="de-CH" smtClean="0"/>
              <a:t>26. September 2023</a:t>
            </a:fld>
            <a:endParaRPr lang="de-CH" dirty="0"/>
          </a:p>
        </p:txBody>
      </p:sp>
      <p:sp>
        <p:nvSpPr>
          <p:cNvPr id="3" name="Fußzeilenplatzhalter 2">
            <a:extLst>
              <a:ext uri="{FF2B5EF4-FFF2-40B4-BE49-F238E27FC236}">
                <a16:creationId xmlns:a16="http://schemas.microsoft.com/office/drawing/2014/main" id="{975C09AB-8294-2A86-FE22-2C0143A64E7F}"/>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3FA735B0-962B-2D6C-82AB-534DCB721EDA}"/>
              </a:ext>
            </a:extLst>
          </p:cNvPr>
          <p:cNvSpPr>
            <a:spLocks noGrp="1"/>
          </p:cNvSpPr>
          <p:nvPr>
            <p:ph type="sldNum" sz="quarter" idx="18"/>
          </p:nvPr>
        </p:nvSpPr>
        <p:spPr/>
        <p:txBody>
          <a:bodyPr/>
          <a:lstStyle/>
          <a:p>
            <a:fld id="{4EAC321B-7500-4259-A00F-915439A35E15}" type="slidenum">
              <a:rPr lang="de-CH" smtClean="0"/>
              <a:pPr/>
              <a:t>21</a:t>
            </a:fld>
            <a:endParaRPr lang="de-CH" dirty="0"/>
          </a:p>
        </p:txBody>
      </p:sp>
      <p:sp>
        <p:nvSpPr>
          <p:cNvPr id="5" name="Titel 4">
            <a:extLst>
              <a:ext uri="{FF2B5EF4-FFF2-40B4-BE49-F238E27FC236}">
                <a16:creationId xmlns:a16="http://schemas.microsoft.com/office/drawing/2014/main" id="{9D2607E9-D15D-08EC-EDAB-B69BC5DAB8C1}"/>
              </a:ext>
            </a:extLst>
          </p:cNvPr>
          <p:cNvSpPr>
            <a:spLocks noGrp="1"/>
          </p:cNvSpPr>
          <p:nvPr>
            <p:ph type="title"/>
          </p:nvPr>
        </p:nvSpPr>
        <p:spPr/>
        <p:txBody>
          <a:bodyPr vert="horz"/>
          <a:lstStyle/>
          <a:p>
            <a:r>
              <a:rPr lang="de-CH" dirty="0"/>
              <a:t>Warum Prototypen bauen?</a:t>
            </a:r>
          </a:p>
        </p:txBody>
      </p:sp>
      <p:sp>
        <p:nvSpPr>
          <p:cNvPr id="6" name="Inhaltsplatzhalter 5">
            <a:extLst>
              <a:ext uri="{FF2B5EF4-FFF2-40B4-BE49-F238E27FC236}">
                <a16:creationId xmlns:a16="http://schemas.microsoft.com/office/drawing/2014/main" id="{CF6A240A-6497-AEE8-C025-2816685E73A9}"/>
              </a:ext>
            </a:extLst>
          </p:cNvPr>
          <p:cNvSpPr>
            <a:spLocks noGrp="1"/>
          </p:cNvSpPr>
          <p:nvPr>
            <p:ph sz="quarter" idx="21"/>
          </p:nvPr>
        </p:nvSpPr>
        <p:spPr/>
        <p:txBody>
          <a:bodyPr/>
          <a:lstStyle/>
          <a:p>
            <a:r>
              <a:rPr lang="de-CH" dirty="0"/>
              <a:t>Es lohnt sich möglichst früh und in allen Entwicklungsstadien Prototypen zu bauen um die Designideen zu visualisieren und um frühzeitig Kunden- und User-Feedback zu erhalten. Die Prototypen können von Papierskizzen über digitale Modelle bis zu Hardware reichen.</a:t>
            </a:r>
          </a:p>
        </p:txBody>
      </p:sp>
      <p:sp>
        <p:nvSpPr>
          <p:cNvPr id="7" name="Textplatzhalter 6">
            <a:extLst>
              <a:ext uri="{FF2B5EF4-FFF2-40B4-BE49-F238E27FC236}">
                <a16:creationId xmlns:a16="http://schemas.microsoft.com/office/drawing/2014/main" id="{A2354B56-1789-6C07-1B64-67FE5CBEFF14}"/>
              </a:ext>
            </a:extLst>
          </p:cNvPr>
          <p:cNvSpPr>
            <a:spLocks noGrp="1"/>
          </p:cNvSpPr>
          <p:nvPr>
            <p:ph type="body" sz="quarter" idx="24"/>
          </p:nvPr>
        </p:nvSpPr>
        <p:spPr/>
        <p:txBody>
          <a:bodyPr>
            <a:normAutofit fontScale="92500" lnSpcReduction="20000"/>
          </a:bodyPr>
          <a:lstStyle/>
          <a:p>
            <a:r>
              <a:rPr lang="de-CH" dirty="0"/>
              <a:t>Design Prototyp</a:t>
            </a:r>
          </a:p>
        </p:txBody>
      </p:sp>
      <p:pic>
        <p:nvPicPr>
          <p:cNvPr id="13" name="Bildplatzhalter 8" descr="Ein Bild, das Fenster, Im Haus, Werkzeug, Zahnrad enthält.&#10;&#10;Automatisch generierte Beschreibung">
            <a:extLst>
              <a:ext uri="{FF2B5EF4-FFF2-40B4-BE49-F238E27FC236}">
                <a16:creationId xmlns:a16="http://schemas.microsoft.com/office/drawing/2014/main" id="{2F9A6A2F-CBD1-745B-0DE5-6A86D75C1DA4}"/>
              </a:ext>
            </a:extLst>
          </p:cNvPr>
          <p:cNvPicPr>
            <a:picLocks noChangeAspect="1"/>
          </p:cNvPicPr>
          <p:nvPr/>
        </p:nvPicPr>
        <p:blipFill rotWithShape="1">
          <a:blip r:embed="rId5"/>
          <a:srcRect t="11454" b="5582"/>
          <a:stretch/>
        </p:blipFill>
        <p:spPr>
          <a:xfrm>
            <a:off x="0" y="2519039"/>
            <a:ext cx="12198350" cy="3607900"/>
          </a:xfrm>
          <a:prstGeom prst="rect">
            <a:avLst/>
          </a:prstGeom>
        </p:spPr>
      </p:pic>
      <p:sp>
        <p:nvSpPr>
          <p:cNvPr id="14" name="Textfeld 13">
            <a:extLst>
              <a:ext uri="{FF2B5EF4-FFF2-40B4-BE49-F238E27FC236}">
                <a16:creationId xmlns:a16="http://schemas.microsoft.com/office/drawing/2014/main" id="{7B42B4C2-FFE8-DAA3-2DD6-D966D34A391C}"/>
              </a:ext>
            </a:extLst>
          </p:cNvPr>
          <p:cNvSpPr txBox="1"/>
          <p:nvPr/>
        </p:nvSpPr>
        <p:spPr>
          <a:xfrm>
            <a:off x="9141909" y="6126939"/>
            <a:ext cx="1458410" cy="293721"/>
          </a:xfrm>
          <a:prstGeom prst="rect">
            <a:avLst/>
          </a:prstGeom>
          <a:solidFill>
            <a:schemeClr val="bg1"/>
          </a:solidFill>
          <a:ln w="28575">
            <a:noFill/>
            <a:miter lim="800000"/>
          </a:ln>
        </p:spPr>
        <p:txBody>
          <a:bodyPr wrap="square" lIns="108000" tIns="36000" rIns="108000" bIns="72000" rtlCol="0">
            <a:spAutoFit/>
          </a:bodyPr>
          <a:lstStyle/>
          <a:p>
            <a:pPr>
              <a:spcAft>
                <a:spcPts val="600"/>
              </a:spcAft>
              <a:buClr>
                <a:schemeClr val="tx2"/>
              </a:buClr>
            </a:pPr>
            <a:r>
              <a:rPr lang="de-CH" sz="1200" dirty="0">
                <a:ea typeface="Roboto Medium" panose="02000000000000000000" pitchFamily="2" charset="0"/>
              </a:rPr>
              <a:t>Quelle: </a:t>
            </a:r>
            <a:r>
              <a:rPr lang="de-CH" sz="1200" dirty="0" err="1">
                <a:ea typeface="Roboto Medium" panose="02000000000000000000" pitchFamily="2" charset="0"/>
              </a:rPr>
              <a:t>dyson</a:t>
            </a:r>
            <a:endParaRPr lang="de-CH" sz="1200" dirty="0">
              <a:ea typeface="Roboto Medium" panose="02000000000000000000" pitchFamily="2" charset="0"/>
            </a:endParaRPr>
          </a:p>
        </p:txBody>
      </p:sp>
    </p:spTree>
    <p:extLst>
      <p:ext uri="{BB962C8B-B14F-4D97-AF65-F5344CB8AC3E}">
        <p14:creationId xmlns:p14="http://schemas.microsoft.com/office/powerpoint/2010/main" val="13262388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797C47E-5D43-EA39-AFB7-5FE8AF7F37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8" name="think-cell data - do not delete" hidden="1">
                        <a:extLst>
                          <a:ext uri="{FF2B5EF4-FFF2-40B4-BE49-F238E27FC236}">
                            <a16:creationId xmlns:a16="http://schemas.microsoft.com/office/drawing/2014/main" id="{7797C47E-5D43-EA39-AFB7-5FE8AF7F37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377C2485-4FBC-F61D-6B78-F59D0BD26698}"/>
              </a:ext>
            </a:extLst>
          </p:cNvPr>
          <p:cNvSpPr>
            <a:spLocks noGrp="1"/>
          </p:cNvSpPr>
          <p:nvPr>
            <p:ph type="dt" sz="half" idx="16"/>
          </p:nvPr>
        </p:nvSpPr>
        <p:spPr/>
        <p:txBody>
          <a:bodyPr/>
          <a:lstStyle/>
          <a:p>
            <a:fld id="{5CF2BEC0-67CD-4C6B-BE45-1021DBA3B92F}" type="datetime4">
              <a:rPr lang="de-CH" smtClean="0"/>
              <a:t>26. September 2023</a:t>
            </a:fld>
            <a:endParaRPr lang="de-CH" dirty="0"/>
          </a:p>
        </p:txBody>
      </p:sp>
      <p:sp>
        <p:nvSpPr>
          <p:cNvPr id="3" name="Fußzeilenplatzhalter 2">
            <a:extLst>
              <a:ext uri="{FF2B5EF4-FFF2-40B4-BE49-F238E27FC236}">
                <a16:creationId xmlns:a16="http://schemas.microsoft.com/office/drawing/2014/main" id="{6F16B9D1-32C6-5002-A471-0EAB6FD1CE0A}"/>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F4A6578C-0689-9E3B-2897-2C848AA7EA10}"/>
              </a:ext>
            </a:extLst>
          </p:cNvPr>
          <p:cNvSpPr>
            <a:spLocks noGrp="1"/>
          </p:cNvSpPr>
          <p:nvPr>
            <p:ph type="sldNum" sz="quarter" idx="18"/>
          </p:nvPr>
        </p:nvSpPr>
        <p:spPr/>
        <p:txBody>
          <a:bodyPr/>
          <a:lstStyle/>
          <a:p>
            <a:fld id="{4EAC321B-7500-4259-A00F-915439A35E15}" type="slidenum">
              <a:rPr lang="de-CH" smtClean="0"/>
              <a:pPr/>
              <a:t>22</a:t>
            </a:fld>
            <a:endParaRPr lang="de-CH" dirty="0"/>
          </a:p>
        </p:txBody>
      </p:sp>
      <p:sp>
        <p:nvSpPr>
          <p:cNvPr id="5" name="Titel 4">
            <a:extLst>
              <a:ext uri="{FF2B5EF4-FFF2-40B4-BE49-F238E27FC236}">
                <a16:creationId xmlns:a16="http://schemas.microsoft.com/office/drawing/2014/main" id="{58E10654-F022-1F7A-67DC-6EB1824A4180}"/>
              </a:ext>
            </a:extLst>
          </p:cNvPr>
          <p:cNvSpPr>
            <a:spLocks noGrp="1"/>
          </p:cNvSpPr>
          <p:nvPr>
            <p:ph type="title"/>
          </p:nvPr>
        </p:nvSpPr>
        <p:spPr/>
        <p:txBody>
          <a:bodyPr vert="horz"/>
          <a:lstStyle/>
          <a:p>
            <a:r>
              <a:rPr lang="de-CH" dirty="0"/>
              <a:t>UX Wireframe</a:t>
            </a:r>
          </a:p>
        </p:txBody>
      </p:sp>
      <p:sp>
        <p:nvSpPr>
          <p:cNvPr id="6" name="Inhaltsplatzhalter 5">
            <a:extLst>
              <a:ext uri="{FF2B5EF4-FFF2-40B4-BE49-F238E27FC236}">
                <a16:creationId xmlns:a16="http://schemas.microsoft.com/office/drawing/2014/main" id="{91A1C054-120A-E922-1212-ED7144729D0A}"/>
              </a:ext>
            </a:extLst>
          </p:cNvPr>
          <p:cNvSpPr>
            <a:spLocks noGrp="1"/>
          </p:cNvSpPr>
          <p:nvPr>
            <p:ph sz="quarter" idx="21"/>
          </p:nvPr>
        </p:nvSpPr>
        <p:spPr/>
        <p:txBody>
          <a:bodyPr/>
          <a:lstStyle/>
          <a:p>
            <a:r>
              <a:rPr lang="de-CH" dirty="0"/>
              <a:t>Wird als Konzeption einer Webanwendungen, App und Software eingesetzt</a:t>
            </a:r>
            <a:endParaRPr lang="de-CH" dirty="0">
              <a:hlinkClick r:id="rId5"/>
            </a:endParaRPr>
          </a:p>
          <a:p>
            <a:r>
              <a:rPr lang="de-CH" dirty="0">
                <a:hlinkClick r:id="rId5"/>
              </a:rPr>
              <a:t>Miro</a:t>
            </a:r>
            <a:endParaRPr lang="de-CH" dirty="0"/>
          </a:p>
          <a:p>
            <a:r>
              <a:rPr lang="de-CH" dirty="0" err="1">
                <a:hlinkClick r:id="rId6"/>
              </a:rPr>
              <a:t>Balsamiq</a:t>
            </a:r>
            <a:endParaRPr lang="de-CH" dirty="0"/>
          </a:p>
          <a:p>
            <a:r>
              <a:rPr lang="de-CH" dirty="0">
                <a:hlinkClick r:id="rId7"/>
              </a:rPr>
              <a:t>Marvel</a:t>
            </a:r>
            <a:endParaRPr lang="de-CH" dirty="0"/>
          </a:p>
          <a:p>
            <a:r>
              <a:rPr lang="de-CH" dirty="0"/>
              <a:t>Von Hand zeichnen</a:t>
            </a:r>
          </a:p>
        </p:txBody>
      </p:sp>
      <p:sp>
        <p:nvSpPr>
          <p:cNvPr id="7" name="Textplatzhalter 6">
            <a:extLst>
              <a:ext uri="{FF2B5EF4-FFF2-40B4-BE49-F238E27FC236}">
                <a16:creationId xmlns:a16="http://schemas.microsoft.com/office/drawing/2014/main" id="{5D9E9AE6-80F1-1C22-2914-A376CFD893E3}"/>
              </a:ext>
            </a:extLst>
          </p:cNvPr>
          <p:cNvSpPr>
            <a:spLocks noGrp="1"/>
          </p:cNvSpPr>
          <p:nvPr>
            <p:ph type="body" sz="quarter" idx="24"/>
          </p:nvPr>
        </p:nvSpPr>
        <p:spPr/>
        <p:txBody>
          <a:bodyPr>
            <a:normAutofit fontScale="92500" lnSpcReduction="20000"/>
          </a:bodyPr>
          <a:lstStyle/>
          <a:p>
            <a:r>
              <a:rPr lang="de-CH" dirty="0"/>
              <a:t>Design Prototyp</a:t>
            </a:r>
          </a:p>
        </p:txBody>
      </p:sp>
      <p:pic>
        <p:nvPicPr>
          <p:cNvPr id="1026" name="Picture 2" descr="Build: Wie Sie erste Prototypen von Apps erstellen">
            <a:extLst>
              <a:ext uri="{FF2B5EF4-FFF2-40B4-BE49-F238E27FC236}">
                <a16:creationId xmlns:a16="http://schemas.microsoft.com/office/drawing/2014/main" id="{734ABD32-F9BB-E5DC-5B17-DEE03BD4F3A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36665" y="1953625"/>
            <a:ext cx="6755235" cy="40940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61862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2474138-76B8-3EB7-3953-975F48D27D8A}"/>
              </a:ext>
            </a:extLst>
          </p:cNvPr>
          <p:cNvGraphicFramePr>
            <a:graphicFrameLocks noChangeAspect="1"/>
          </p:cNvGraphicFramePr>
          <p:nvPr>
            <p:custDataLst>
              <p:tags r:id="rId1"/>
            </p:custDataLst>
            <p:extLst>
              <p:ext uri="{D42A27DB-BD31-4B8C-83A1-F6EECF244321}">
                <p14:modId xmlns:p14="http://schemas.microsoft.com/office/powerpoint/2010/main" val="702875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think-cell data - do not delete" hidden="1">
                        <a:extLst>
                          <a:ext uri="{FF2B5EF4-FFF2-40B4-BE49-F238E27FC236}">
                            <a16:creationId xmlns:a16="http://schemas.microsoft.com/office/drawing/2014/main" id="{E2474138-76B8-3EB7-3953-975F48D27D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umsplatzhalter 2">
            <a:extLst>
              <a:ext uri="{FF2B5EF4-FFF2-40B4-BE49-F238E27FC236}">
                <a16:creationId xmlns:a16="http://schemas.microsoft.com/office/drawing/2014/main" id="{4CA8B84D-3B71-E3F2-60A8-CF71B330D724}"/>
              </a:ext>
            </a:extLst>
          </p:cNvPr>
          <p:cNvSpPr>
            <a:spLocks noGrp="1"/>
          </p:cNvSpPr>
          <p:nvPr>
            <p:ph type="dt" sz="half" idx="16"/>
          </p:nvPr>
        </p:nvSpPr>
        <p:spPr/>
        <p:txBody>
          <a:bodyPr/>
          <a:lstStyle/>
          <a:p>
            <a:fld id="{106BE6D1-C6F7-4FC9-BDB1-D76BDDA00049}" type="datetime4">
              <a:rPr lang="de-CH" smtClean="0"/>
              <a:t>26. September 2023</a:t>
            </a:fld>
            <a:endParaRPr lang="de-CH" dirty="0"/>
          </a:p>
        </p:txBody>
      </p:sp>
      <p:sp>
        <p:nvSpPr>
          <p:cNvPr id="4" name="Fußzeilenplatzhalter 3">
            <a:extLst>
              <a:ext uri="{FF2B5EF4-FFF2-40B4-BE49-F238E27FC236}">
                <a16:creationId xmlns:a16="http://schemas.microsoft.com/office/drawing/2014/main" id="{FDA9B8EC-CADE-62BD-BA6A-3E789A2BF0FF}"/>
              </a:ext>
            </a:extLst>
          </p:cNvPr>
          <p:cNvSpPr>
            <a:spLocks noGrp="1"/>
          </p:cNvSpPr>
          <p:nvPr>
            <p:ph type="ftr" sz="quarter" idx="17"/>
          </p:nvPr>
        </p:nvSpPr>
        <p:spPr/>
        <p:txBody>
          <a:bodyPr/>
          <a:lstStyle/>
          <a:p>
            <a:r>
              <a:rPr lang="de-CH"/>
              <a:t>Wissensnugget - Qualität</a:t>
            </a:r>
            <a:endParaRPr lang="de-CH" dirty="0"/>
          </a:p>
        </p:txBody>
      </p:sp>
      <p:sp>
        <p:nvSpPr>
          <p:cNvPr id="5" name="Foliennummernplatzhalter 4">
            <a:extLst>
              <a:ext uri="{FF2B5EF4-FFF2-40B4-BE49-F238E27FC236}">
                <a16:creationId xmlns:a16="http://schemas.microsoft.com/office/drawing/2014/main" id="{6B21F3BE-06E5-92AC-3BCC-E631936AC643}"/>
              </a:ext>
            </a:extLst>
          </p:cNvPr>
          <p:cNvSpPr>
            <a:spLocks noGrp="1"/>
          </p:cNvSpPr>
          <p:nvPr>
            <p:ph type="sldNum" sz="quarter" idx="18"/>
          </p:nvPr>
        </p:nvSpPr>
        <p:spPr/>
        <p:txBody>
          <a:bodyPr/>
          <a:lstStyle/>
          <a:p>
            <a:fld id="{4EAC321B-7500-4259-A00F-915439A35E15}" type="slidenum">
              <a:rPr lang="de-CH" smtClean="0"/>
              <a:pPr/>
              <a:t>23</a:t>
            </a:fld>
            <a:endParaRPr lang="de-CH" dirty="0"/>
          </a:p>
        </p:txBody>
      </p:sp>
      <p:sp>
        <p:nvSpPr>
          <p:cNvPr id="9" name="Titel 8">
            <a:extLst>
              <a:ext uri="{FF2B5EF4-FFF2-40B4-BE49-F238E27FC236}">
                <a16:creationId xmlns:a16="http://schemas.microsoft.com/office/drawing/2014/main" id="{9D023124-1298-2156-4503-93FF5C32C8E3}"/>
              </a:ext>
            </a:extLst>
          </p:cNvPr>
          <p:cNvSpPr>
            <a:spLocks noGrp="1"/>
          </p:cNvSpPr>
          <p:nvPr>
            <p:ph type="title"/>
          </p:nvPr>
        </p:nvSpPr>
        <p:spPr/>
        <p:txBody>
          <a:bodyPr vert="horz"/>
          <a:lstStyle/>
          <a:p>
            <a:r>
              <a:rPr lang="de-CH" dirty="0"/>
              <a:t>Kartonmodell</a:t>
            </a:r>
          </a:p>
        </p:txBody>
      </p:sp>
      <p:pic>
        <p:nvPicPr>
          <p:cNvPr id="13" name="Inhaltsplatzhalter 12" descr="Ein Bild, das Text, Box, Karton, Versandbox enthält.&#10;&#10;Automatisch generierte Beschreibung">
            <a:extLst>
              <a:ext uri="{FF2B5EF4-FFF2-40B4-BE49-F238E27FC236}">
                <a16:creationId xmlns:a16="http://schemas.microsoft.com/office/drawing/2014/main" id="{0EB22B0F-BC10-662A-8F90-D30FB363DA29}"/>
              </a:ext>
            </a:extLst>
          </p:cNvPr>
          <p:cNvPicPr>
            <a:picLocks noGrp="1" noChangeAspect="1"/>
          </p:cNvPicPr>
          <p:nvPr>
            <p:ph sz="quarter" idx="21"/>
          </p:nvPr>
        </p:nvPicPr>
        <p:blipFill rotWithShape="1">
          <a:blip r:embed="rId5"/>
          <a:srcRect l="37841" t="9882"/>
          <a:stretch/>
        </p:blipFill>
        <p:spPr>
          <a:xfrm>
            <a:off x="7822096" y="3048841"/>
            <a:ext cx="4038118" cy="3223369"/>
          </a:xfrm>
        </p:spPr>
      </p:pic>
      <p:sp>
        <p:nvSpPr>
          <p:cNvPr id="11" name="Textplatzhalter 10">
            <a:extLst>
              <a:ext uri="{FF2B5EF4-FFF2-40B4-BE49-F238E27FC236}">
                <a16:creationId xmlns:a16="http://schemas.microsoft.com/office/drawing/2014/main" id="{43FF8D18-0EB3-F45F-0D5E-9851033BF7FD}"/>
              </a:ext>
            </a:extLst>
          </p:cNvPr>
          <p:cNvSpPr>
            <a:spLocks noGrp="1"/>
          </p:cNvSpPr>
          <p:nvPr>
            <p:ph type="body" sz="quarter" idx="24"/>
          </p:nvPr>
        </p:nvSpPr>
        <p:spPr/>
        <p:txBody>
          <a:bodyPr>
            <a:normAutofit fontScale="92500" lnSpcReduction="20000"/>
          </a:bodyPr>
          <a:lstStyle/>
          <a:p>
            <a:r>
              <a:rPr lang="de-CH" dirty="0"/>
              <a:t>Design Prototyp</a:t>
            </a:r>
          </a:p>
        </p:txBody>
      </p:sp>
      <p:pic>
        <p:nvPicPr>
          <p:cNvPr id="17" name="Grafik 16" descr="Ein Bild, das Spielzeug, Stecker Stöpsel Wasserhahn enthält.&#10;&#10;Automatisch generierte Beschreibung">
            <a:extLst>
              <a:ext uri="{FF2B5EF4-FFF2-40B4-BE49-F238E27FC236}">
                <a16:creationId xmlns:a16="http://schemas.microsoft.com/office/drawing/2014/main" id="{F1D4526A-23EC-ABCA-CA7B-B5CFA51CDC5A}"/>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6111" b="95694" l="19219" r="68438">
                        <a14:foregroundMark x1="22500" y1="58194" x2="22188" y2="72083"/>
                        <a14:foregroundMark x1="22188" y1="72083" x2="26328" y2="83472"/>
                        <a14:foregroundMark x1="19844" y1="56389" x2="19219" y2="66111"/>
                        <a14:foregroundMark x1="19219" y1="66111" x2="19844" y2="71111"/>
                        <a14:foregroundMark x1="25859" y1="89306" x2="28906" y2="94722"/>
                        <a14:foregroundMark x1="28906" y1="94722" x2="35078" y2="92500"/>
                        <a14:foregroundMark x1="35078" y1="92500" x2="35703" y2="91806"/>
                        <a14:foregroundMark x1="28672" y1="96111" x2="33203" y2="95556"/>
                        <a14:foregroundMark x1="35000" y1="93889" x2="36094" y2="92778"/>
                        <a14:foregroundMark x1="58828" y1="15139" x2="62422" y2="7500"/>
                        <a14:foregroundMark x1="62422" y1="7500" x2="66641" y2="12500"/>
                        <a14:foregroundMark x1="66641" y1="12500" x2="66641" y2="12778"/>
                        <a14:foregroundMark x1="61172" y1="10417" x2="65000" y2="9722"/>
                        <a14:foregroundMark x1="62187" y1="6111" x2="63984" y2="6250"/>
                      </a14:backgroundRemoval>
                    </a14:imgEffect>
                  </a14:imgLayer>
                </a14:imgProps>
              </a:ext>
            </a:extLst>
          </a:blip>
          <a:srcRect l="15497" t="3287" r="25636"/>
          <a:stretch/>
        </p:blipFill>
        <p:spPr>
          <a:xfrm>
            <a:off x="338136" y="3098185"/>
            <a:ext cx="3381153" cy="3124680"/>
          </a:xfrm>
          <a:prstGeom prst="rect">
            <a:avLst/>
          </a:prstGeom>
        </p:spPr>
      </p:pic>
      <p:pic>
        <p:nvPicPr>
          <p:cNvPr id="15" name="Grafik 14" descr="Ein Bild, das Hellbraun, Beige, Braun enthält.&#10;&#10;Automatisch generierte Beschreibung">
            <a:extLst>
              <a:ext uri="{FF2B5EF4-FFF2-40B4-BE49-F238E27FC236}">
                <a16:creationId xmlns:a16="http://schemas.microsoft.com/office/drawing/2014/main" id="{3416FAB2-3909-105D-849E-67F148D6C950}"/>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10000" b="90000" l="10000" r="90000">
                        <a14:backgroundMark x1="70533" y1="56044" x2="72267" y2="54945"/>
                        <a14:backgroundMark x1="74600" y1="48052" x2="74467" y2="46054"/>
                      </a14:backgroundRemoval>
                    </a14:imgEffect>
                  </a14:imgLayer>
                </a14:imgProps>
              </a:ext>
            </a:extLst>
          </a:blip>
          <a:srcRect l="12613" t="11487" r="16624" b="11308"/>
          <a:stretch/>
        </p:blipFill>
        <p:spPr>
          <a:xfrm>
            <a:off x="3488531" y="3262692"/>
            <a:ext cx="4291629" cy="3124679"/>
          </a:xfrm>
          <a:prstGeom prst="rect">
            <a:avLst/>
          </a:prstGeom>
        </p:spPr>
      </p:pic>
      <p:sp>
        <p:nvSpPr>
          <p:cNvPr id="19" name="Content Placeholder 5">
            <a:extLst>
              <a:ext uri="{FF2B5EF4-FFF2-40B4-BE49-F238E27FC236}">
                <a16:creationId xmlns:a16="http://schemas.microsoft.com/office/drawing/2014/main" id="{40B4DC4C-2B3A-525D-8EF9-53665335CEEB}"/>
              </a:ext>
            </a:extLst>
          </p:cNvPr>
          <p:cNvSpPr txBox="1">
            <a:spLocks/>
          </p:cNvSpPr>
          <p:nvPr/>
        </p:nvSpPr>
        <p:spPr>
          <a:xfrm>
            <a:off x="806450" y="1449388"/>
            <a:ext cx="10436514" cy="3916397"/>
          </a:xfrm>
          <a:prstGeom prst="rect">
            <a:avLst/>
          </a:prstGeom>
        </p:spPr>
        <p:txBody>
          <a:bodyPr>
            <a:normAutofit/>
          </a:bodyPr>
          <a:lstStyle>
            <a:lvl1pPr marL="252000" indent="-252000" algn="l" defTabSz="609768" rtl="0" eaLnBrk="1" latinLnBrk="0" hangingPunct="1">
              <a:spcBef>
                <a:spcPts val="1800"/>
              </a:spcBef>
              <a:buClr>
                <a:schemeClr val="tx2"/>
              </a:buClr>
              <a:buFont typeface="Arial" panose="020B0604020202020204" pitchFamily="34" charset="0"/>
              <a:buChar char="•"/>
              <a:defRPr sz="2000" kern="1200">
                <a:solidFill>
                  <a:schemeClr val="tx1"/>
                </a:solidFill>
                <a:latin typeface="+mn-lt"/>
                <a:ea typeface="+mn-ea"/>
                <a:cs typeface="+mn-cs"/>
              </a:defRPr>
            </a:lvl1pPr>
            <a:lvl2pPr marL="504000" indent="-252000" algn="l" defTabSz="609768" rtl="0" eaLnBrk="1" latinLnBrk="0" hangingPunct="1">
              <a:spcBef>
                <a:spcPts val="1200"/>
              </a:spcBef>
              <a:buClr>
                <a:schemeClr val="tx1"/>
              </a:buClr>
              <a:buSzPct val="80000"/>
              <a:buFont typeface="Arial" panose="020B0604020202020204" pitchFamily="34" charset="0"/>
              <a:buChar char="•"/>
              <a:defRPr sz="1800" kern="1200">
                <a:solidFill>
                  <a:schemeClr val="tx1"/>
                </a:solidFill>
                <a:latin typeface="+mn-lt"/>
                <a:ea typeface="+mn-ea"/>
                <a:cs typeface="+mn-cs"/>
              </a:defRPr>
            </a:lvl2pPr>
            <a:lvl3pPr marL="756000" indent="-252000" algn="l" defTabSz="609768" rtl="0" eaLnBrk="1" latinLnBrk="0" hangingPunct="1">
              <a:spcBef>
                <a:spcPts val="1000"/>
              </a:spcBef>
              <a:buSzPct val="90000"/>
              <a:buFont typeface="Symbol" panose="05050102010706020507" pitchFamily="18" charset="2"/>
              <a:buChar char="-"/>
              <a:defRPr sz="1600" kern="1200">
                <a:solidFill>
                  <a:schemeClr val="tx1"/>
                </a:solidFill>
                <a:latin typeface="+mn-lt"/>
                <a:ea typeface="+mn-ea"/>
                <a:cs typeface="+mn-cs"/>
              </a:defRPr>
            </a:lvl3pPr>
            <a:lvl4pPr marL="1008000" indent="-252000" algn="l" defTabSz="609768" rtl="0" eaLnBrk="1" latinLnBrk="0" hangingPunct="1">
              <a:spcBef>
                <a:spcPts val="600"/>
              </a:spcBef>
              <a:buFont typeface="Symbol" panose="05050102010706020507" pitchFamily="18" charset="2"/>
              <a:buChar char="-"/>
              <a:defRPr sz="1600" kern="1200">
                <a:solidFill>
                  <a:schemeClr val="tx1"/>
                </a:solidFill>
                <a:latin typeface="+mn-lt"/>
                <a:ea typeface="+mn-ea"/>
                <a:cs typeface="+mn-cs"/>
              </a:defRPr>
            </a:lvl4pPr>
            <a:lvl5pPr marL="1260000" marR="0" indent="-252000" algn="l" defTabSz="609768" rtl="0" eaLnBrk="1" fontAlgn="auto" latinLnBrk="0" hangingPunct="1">
              <a:lnSpc>
                <a:spcPct val="120000"/>
              </a:lnSpc>
              <a:spcBef>
                <a:spcPts val="600"/>
              </a:spcBef>
              <a:spcAft>
                <a:spcPts val="0"/>
              </a:spcAft>
              <a:buClrTx/>
              <a:buSzTx/>
              <a:buFont typeface="Symbol" panose="05050102010706020507" pitchFamily="18" charset="2"/>
              <a:buChar char="-"/>
              <a:tabLst/>
              <a:defRPr sz="1600" kern="1200">
                <a:solidFill>
                  <a:schemeClr val="tx1"/>
                </a:solidFill>
                <a:latin typeface="+mn-lt"/>
                <a:ea typeface="+mn-ea"/>
                <a:cs typeface="+mn-cs"/>
              </a:defRPr>
            </a:lvl5pPr>
            <a:lvl6pPr marL="1512000" indent="-252000" algn="l" defTabSz="611188" rtl="0" eaLnBrk="1" latinLnBrk="0" hangingPunct="1">
              <a:lnSpc>
                <a:spcPct val="120000"/>
              </a:lnSpc>
              <a:spcBef>
                <a:spcPts val="600"/>
              </a:spcBef>
              <a:buFont typeface="Symbol" panose="05050102010706020507" pitchFamily="18" charset="2"/>
              <a:buChar char="-"/>
              <a:defRPr sz="1600" kern="1200" baseline="0">
                <a:solidFill>
                  <a:schemeClr val="tx1"/>
                </a:solidFill>
                <a:latin typeface="+mn-lt"/>
                <a:ea typeface="+mn-ea"/>
                <a:cs typeface="+mn-cs"/>
              </a:defRPr>
            </a:lvl6pPr>
            <a:lvl7pPr marL="1764000" indent="-252000" algn="l" defTabSz="609768" rtl="0" eaLnBrk="1" latinLnBrk="0" hangingPunct="1">
              <a:lnSpc>
                <a:spcPct val="120000"/>
              </a:lnSpc>
              <a:spcBef>
                <a:spcPts val="600"/>
              </a:spcBef>
              <a:buFont typeface="Symbol" panose="05050102010706020507" pitchFamily="18" charset="2"/>
              <a:buChar char="-"/>
              <a:defRPr sz="1600" kern="1200">
                <a:solidFill>
                  <a:schemeClr val="tx1"/>
                </a:solidFill>
                <a:latin typeface="+mn-lt"/>
                <a:ea typeface="+mn-ea"/>
                <a:cs typeface="+mn-cs"/>
              </a:defRPr>
            </a:lvl7pPr>
            <a:lvl8pPr marL="4573257" indent="-304884" algn="l" defTabSz="609768" rtl="0" eaLnBrk="1" latinLnBrk="0" hangingPunct="1">
              <a:spcBef>
                <a:spcPct val="20000"/>
              </a:spcBef>
              <a:buFont typeface="Arial"/>
              <a:buChar char="•"/>
              <a:defRPr sz="2700" kern="1200">
                <a:solidFill>
                  <a:schemeClr val="tx1"/>
                </a:solidFill>
                <a:latin typeface="+mn-lt"/>
                <a:ea typeface="+mn-ea"/>
                <a:cs typeface="+mn-cs"/>
              </a:defRPr>
            </a:lvl8pPr>
            <a:lvl9pPr marL="5183025" indent="-304884" algn="l" defTabSz="609768" rtl="0" eaLnBrk="1" latinLnBrk="0" hangingPunct="1">
              <a:spcBef>
                <a:spcPct val="20000"/>
              </a:spcBef>
              <a:buFont typeface="Arial"/>
              <a:buChar char="•"/>
              <a:defRPr sz="2700" kern="1200">
                <a:solidFill>
                  <a:schemeClr val="tx1"/>
                </a:solidFill>
                <a:latin typeface="+mn-lt"/>
                <a:ea typeface="+mn-ea"/>
                <a:cs typeface="+mn-cs"/>
              </a:defRPr>
            </a:lvl9pPr>
          </a:lstStyle>
          <a:p>
            <a:r>
              <a:rPr lang="de-DE" dirty="0"/>
              <a:t>Fokus: Ergonomie, </a:t>
            </a:r>
            <a:r>
              <a:rPr lang="de-DE" dirty="0" err="1"/>
              <a:t>Massstäblichkeit</a:t>
            </a:r>
            <a:r>
              <a:rPr lang="de-DE" dirty="0"/>
              <a:t>, auch </a:t>
            </a:r>
            <a:r>
              <a:rPr lang="de-DE" dirty="0" err="1"/>
              <a:t>grössere</a:t>
            </a:r>
            <a:r>
              <a:rPr lang="de-DE" dirty="0"/>
              <a:t> Produkte schnell herstellbar</a:t>
            </a:r>
          </a:p>
          <a:p>
            <a:r>
              <a:rPr lang="de-DE" dirty="0"/>
              <a:t>Feine Detailelemente können mittels 3D-Druck ergänzt werden</a:t>
            </a:r>
          </a:p>
          <a:p>
            <a:r>
              <a:rPr lang="de-DE" dirty="0"/>
              <a:t>Bedienelemente können aufgemalt oder als Papierausdruck aufgeklebt werden</a:t>
            </a:r>
          </a:p>
        </p:txBody>
      </p:sp>
    </p:spTree>
    <p:extLst>
      <p:ext uri="{BB962C8B-B14F-4D97-AF65-F5344CB8AC3E}">
        <p14:creationId xmlns:p14="http://schemas.microsoft.com/office/powerpoint/2010/main" val="625245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60F7E94-0806-3840-D906-BAB0E0719E03}"/>
              </a:ext>
            </a:extLst>
          </p:cNvPr>
          <p:cNvGraphicFramePr>
            <a:graphicFrameLocks noChangeAspect="1"/>
          </p:cNvGraphicFramePr>
          <p:nvPr>
            <p:custDataLst>
              <p:tags r:id="rId1"/>
            </p:custDataLst>
            <p:extLst>
              <p:ext uri="{D42A27DB-BD31-4B8C-83A1-F6EECF244321}">
                <p14:modId xmlns:p14="http://schemas.microsoft.com/office/powerpoint/2010/main" val="1344583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8" name="think-cell data - do not delete" hidden="1">
                        <a:extLst>
                          <a:ext uri="{FF2B5EF4-FFF2-40B4-BE49-F238E27FC236}">
                            <a16:creationId xmlns:a16="http://schemas.microsoft.com/office/drawing/2014/main" id="{A60F7E94-0806-3840-D906-BAB0E0719E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F5755E9F-8AAF-9CA9-DCA2-768EDA0B2891}"/>
              </a:ext>
            </a:extLst>
          </p:cNvPr>
          <p:cNvSpPr>
            <a:spLocks noGrp="1"/>
          </p:cNvSpPr>
          <p:nvPr>
            <p:ph type="dt" sz="half" idx="16"/>
          </p:nvPr>
        </p:nvSpPr>
        <p:spPr/>
        <p:txBody>
          <a:bodyPr/>
          <a:lstStyle/>
          <a:p>
            <a:fld id="{7BCF7243-6C94-492F-988E-2A4D94B384A3}" type="datetime4">
              <a:rPr lang="de-CH" smtClean="0"/>
              <a:t>26. September 2023</a:t>
            </a:fld>
            <a:endParaRPr lang="de-CH" dirty="0"/>
          </a:p>
        </p:txBody>
      </p:sp>
      <p:sp>
        <p:nvSpPr>
          <p:cNvPr id="3" name="Fußzeilenplatzhalter 2">
            <a:extLst>
              <a:ext uri="{FF2B5EF4-FFF2-40B4-BE49-F238E27FC236}">
                <a16:creationId xmlns:a16="http://schemas.microsoft.com/office/drawing/2014/main" id="{2E4246EF-84EF-8D17-FD10-A053A42D1C67}"/>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8764B4CB-3B21-1311-A341-B2C5A0723A51}"/>
              </a:ext>
            </a:extLst>
          </p:cNvPr>
          <p:cNvSpPr>
            <a:spLocks noGrp="1"/>
          </p:cNvSpPr>
          <p:nvPr>
            <p:ph type="sldNum" sz="quarter" idx="18"/>
          </p:nvPr>
        </p:nvSpPr>
        <p:spPr/>
        <p:txBody>
          <a:bodyPr/>
          <a:lstStyle/>
          <a:p>
            <a:fld id="{4EAC321B-7500-4259-A00F-915439A35E15}" type="slidenum">
              <a:rPr lang="de-CH" smtClean="0"/>
              <a:pPr/>
              <a:t>24</a:t>
            </a:fld>
            <a:endParaRPr lang="de-CH" dirty="0"/>
          </a:p>
        </p:txBody>
      </p:sp>
      <p:sp>
        <p:nvSpPr>
          <p:cNvPr id="5" name="Titel 4">
            <a:extLst>
              <a:ext uri="{FF2B5EF4-FFF2-40B4-BE49-F238E27FC236}">
                <a16:creationId xmlns:a16="http://schemas.microsoft.com/office/drawing/2014/main" id="{0B08E859-75A4-863F-5D9D-8AFF829C0EEB}"/>
              </a:ext>
            </a:extLst>
          </p:cNvPr>
          <p:cNvSpPr>
            <a:spLocks noGrp="1"/>
          </p:cNvSpPr>
          <p:nvPr>
            <p:ph type="title"/>
          </p:nvPr>
        </p:nvSpPr>
        <p:spPr/>
        <p:txBody>
          <a:bodyPr vert="horz"/>
          <a:lstStyle/>
          <a:p>
            <a:r>
              <a:rPr lang="de-CH" dirty="0"/>
              <a:t>3D-Druck</a:t>
            </a:r>
          </a:p>
        </p:txBody>
      </p:sp>
      <p:sp>
        <p:nvSpPr>
          <p:cNvPr id="6" name="Inhaltsplatzhalter 5">
            <a:extLst>
              <a:ext uri="{FF2B5EF4-FFF2-40B4-BE49-F238E27FC236}">
                <a16:creationId xmlns:a16="http://schemas.microsoft.com/office/drawing/2014/main" id="{9715BAE8-422F-70EF-3F96-B42436475148}"/>
              </a:ext>
            </a:extLst>
          </p:cNvPr>
          <p:cNvSpPr>
            <a:spLocks noGrp="1"/>
          </p:cNvSpPr>
          <p:nvPr>
            <p:ph sz="quarter" idx="21"/>
          </p:nvPr>
        </p:nvSpPr>
        <p:spPr/>
        <p:txBody>
          <a:bodyPr/>
          <a:lstStyle/>
          <a:p>
            <a:r>
              <a:rPr lang="de-DE" dirty="0"/>
              <a:t>Funktionsnahe Prototypen mit komplexer Form oder feinen Details</a:t>
            </a:r>
          </a:p>
          <a:p>
            <a:r>
              <a:rPr lang="de-DE" dirty="0"/>
              <a:t>Kleine bis </a:t>
            </a:r>
            <a:r>
              <a:rPr lang="de-DE" dirty="0" err="1"/>
              <a:t>mittelgrosse</a:t>
            </a:r>
            <a:r>
              <a:rPr lang="de-DE" dirty="0"/>
              <a:t> Produkte</a:t>
            </a:r>
          </a:p>
          <a:p>
            <a:r>
              <a:rPr lang="de-DE" dirty="0"/>
              <a:t>Schnell in der Produktion: "über Nacht"</a:t>
            </a:r>
          </a:p>
          <a:p>
            <a:r>
              <a:rPr lang="de-DE" dirty="0"/>
              <a:t>Variantenstudien</a:t>
            </a:r>
          </a:p>
          <a:p>
            <a:endParaRPr lang="de-CH" dirty="0"/>
          </a:p>
        </p:txBody>
      </p:sp>
      <p:sp>
        <p:nvSpPr>
          <p:cNvPr id="7" name="Textplatzhalter 6">
            <a:extLst>
              <a:ext uri="{FF2B5EF4-FFF2-40B4-BE49-F238E27FC236}">
                <a16:creationId xmlns:a16="http://schemas.microsoft.com/office/drawing/2014/main" id="{F0384BA3-135D-BB06-F9D6-867356E2E897}"/>
              </a:ext>
            </a:extLst>
          </p:cNvPr>
          <p:cNvSpPr>
            <a:spLocks noGrp="1"/>
          </p:cNvSpPr>
          <p:nvPr>
            <p:ph type="body" sz="quarter" idx="24"/>
          </p:nvPr>
        </p:nvSpPr>
        <p:spPr/>
        <p:txBody>
          <a:bodyPr>
            <a:normAutofit fontScale="92500" lnSpcReduction="20000"/>
          </a:bodyPr>
          <a:lstStyle/>
          <a:p>
            <a:r>
              <a:rPr lang="de-CH" dirty="0"/>
              <a:t>Design Prototyp</a:t>
            </a:r>
          </a:p>
        </p:txBody>
      </p:sp>
      <p:pic>
        <p:nvPicPr>
          <p:cNvPr id="2050" name="Picture 2" descr="3D Druck Prototyp Greifer">
            <a:extLst>
              <a:ext uri="{FF2B5EF4-FFF2-40B4-BE49-F238E27FC236}">
                <a16:creationId xmlns:a16="http://schemas.microsoft.com/office/drawing/2014/main" id="{FAC764E1-FBD3-4787-A6D1-F15B84E9612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597" t="14980" r="6025" b="13216"/>
          <a:stretch/>
        </p:blipFill>
        <p:spPr bwMode="auto">
          <a:xfrm>
            <a:off x="980072" y="3285865"/>
            <a:ext cx="3719250" cy="298793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85C29EFC-3706-C827-1526-CE2D58352DA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99535" y="2517865"/>
            <a:ext cx="4863980" cy="36479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6480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3D2D80F-CA80-3ACC-16A8-1E25F41A9161}"/>
              </a:ext>
            </a:extLst>
          </p:cNvPr>
          <p:cNvGraphicFramePr>
            <a:graphicFrameLocks noChangeAspect="1"/>
          </p:cNvGraphicFramePr>
          <p:nvPr>
            <p:custDataLst>
              <p:tags r:id="rId1"/>
            </p:custDataLst>
            <p:extLst>
              <p:ext uri="{D42A27DB-BD31-4B8C-83A1-F6EECF244321}">
                <p14:modId xmlns:p14="http://schemas.microsoft.com/office/powerpoint/2010/main" val="966563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9" name="think-cell data - do not delete" hidden="1">
                        <a:extLst>
                          <a:ext uri="{FF2B5EF4-FFF2-40B4-BE49-F238E27FC236}">
                            <a16:creationId xmlns:a16="http://schemas.microsoft.com/office/drawing/2014/main" id="{B3D2D80F-CA80-3ACC-16A8-1E25F41A91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7FF9A303-5DBA-FF7E-1B53-BB0F6C88614E}"/>
              </a:ext>
            </a:extLst>
          </p:cNvPr>
          <p:cNvSpPr>
            <a:spLocks noGrp="1"/>
          </p:cNvSpPr>
          <p:nvPr>
            <p:ph type="dt" sz="half" idx="16"/>
          </p:nvPr>
        </p:nvSpPr>
        <p:spPr/>
        <p:txBody>
          <a:bodyPr/>
          <a:lstStyle/>
          <a:p>
            <a:fld id="{D0BB82C0-A930-45FF-B7A9-6F232E38C2AD}" type="datetime4">
              <a:rPr lang="de-CH" smtClean="0"/>
              <a:t>26. September 2023</a:t>
            </a:fld>
            <a:endParaRPr lang="de-CH" dirty="0"/>
          </a:p>
        </p:txBody>
      </p:sp>
      <p:sp>
        <p:nvSpPr>
          <p:cNvPr id="3" name="Fußzeilenplatzhalter 2">
            <a:extLst>
              <a:ext uri="{FF2B5EF4-FFF2-40B4-BE49-F238E27FC236}">
                <a16:creationId xmlns:a16="http://schemas.microsoft.com/office/drawing/2014/main" id="{AD919EFF-1CC5-5D50-FA0A-BA88E4EBBC5D}"/>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8CD17D70-AC0A-D8BB-1067-C9CF42248396}"/>
              </a:ext>
            </a:extLst>
          </p:cNvPr>
          <p:cNvSpPr>
            <a:spLocks noGrp="1"/>
          </p:cNvSpPr>
          <p:nvPr>
            <p:ph type="sldNum" sz="quarter" idx="18"/>
          </p:nvPr>
        </p:nvSpPr>
        <p:spPr/>
        <p:txBody>
          <a:bodyPr/>
          <a:lstStyle/>
          <a:p>
            <a:fld id="{4EAC321B-7500-4259-A00F-915439A35E15}" type="slidenum">
              <a:rPr lang="de-CH" smtClean="0"/>
              <a:pPr/>
              <a:t>25</a:t>
            </a:fld>
            <a:endParaRPr lang="de-CH" dirty="0"/>
          </a:p>
        </p:txBody>
      </p:sp>
      <p:sp>
        <p:nvSpPr>
          <p:cNvPr id="5" name="Titel 4">
            <a:extLst>
              <a:ext uri="{FF2B5EF4-FFF2-40B4-BE49-F238E27FC236}">
                <a16:creationId xmlns:a16="http://schemas.microsoft.com/office/drawing/2014/main" id="{4807DEA3-4649-E2E4-0DF9-80C7346A6604}"/>
              </a:ext>
            </a:extLst>
          </p:cNvPr>
          <p:cNvSpPr>
            <a:spLocks noGrp="1"/>
          </p:cNvSpPr>
          <p:nvPr>
            <p:ph type="title"/>
          </p:nvPr>
        </p:nvSpPr>
        <p:spPr/>
        <p:txBody>
          <a:bodyPr vert="horz"/>
          <a:lstStyle/>
          <a:p>
            <a:r>
              <a:rPr lang="de-CH" dirty="0"/>
              <a:t>Drehen, Fräsen, Lasern &amp; biegen</a:t>
            </a:r>
          </a:p>
        </p:txBody>
      </p:sp>
      <p:sp>
        <p:nvSpPr>
          <p:cNvPr id="6" name="Inhaltsplatzhalter 5">
            <a:extLst>
              <a:ext uri="{FF2B5EF4-FFF2-40B4-BE49-F238E27FC236}">
                <a16:creationId xmlns:a16="http://schemas.microsoft.com/office/drawing/2014/main" id="{8A3A68E0-57C8-6D75-001C-1D111DE1BF26}"/>
              </a:ext>
            </a:extLst>
          </p:cNvPr>
          <p:cNvSpPr>
            <a:spLocks noGrp="1"/>
          </p:cNvSpPr>
          <p:nvPr>
            <p:ph sz="quarter" idx="21"/>
          </p:nvPr>
        </p:nvSpPr>
        <p:spPr/>
        <p:txBody>
          <a:bodyPr/>
          <a:lstStyle/>
          <a:p>
            <a:r>
              <a:rPr lang="de-CH" dirty="0"/>
              <a:t>Für seriennahe Prototypen</a:t>
            </a:r>
          </a:p>
          <a:p>
            <a:r>
              <a:rPr lang="de-CH" dirty="0"/>
              <a:t>Hohe Genauigkeit</a:t>
            </a:r>
          </a:p>
          <a:p>
            <a:r>
              <a:rPr lang="de-CH" dirty="0"/>
              <a:t>Hohe Belastbarkeit</a:t>
            </a:r>
          </a:p>
          <a:p>
            <a:r>
              <a:rPr lang="de-CH" dirty="0"/>
              <a:t>Hohe Kosten</a:t>
            </a:r>
          </a:p>
        </p:txBody>
      </p:sp>
      <p:sp>
        <p:nvSpPr>
          <p:cNvPr id="7" name="Textplatzhalter 6">
            <a:extLst>
              <a:ext uri="{FF2B5EF4-FFF2-40B4-BE49-F238E27FC236}">
                <a16:creationId xmlns:a16="http://schemas.microsoft.com/office/drawing/2014/main" id="{86157A59-B28F-5BE2-72FB-E2DEF0084141}"/>
              </a:ext>
            </a:extLst>
          </p:cNvPr>
          <p:cNvSpPr>
            <a:spLocks noGrp="1"/>
          </p:cNvSpPr>
          <p:nvPr>
            <p:ph type="body" sz="quarter" idx="24"/>
          </p:nvPr>
        </p:nvSpPr>
        <p:spPr/>
        <p:txBody>
          <a:bodyPr>
            <a:normAutofit fontScale="92500" lnSpcReduction="20000"/>
          </a:bodyPr>
          <a:lstStyle/>
          <a:p>
            <a:r>
              <a:rPr lang="de-CH" dirty="0"/>
              <a:t>Design Prototyp</a:t>
            </a:r>
          </a:p>
        </p:txBody>
      </p:sp>
      <p:pic>
        <p:nvPicPr>
          <p:cNvPr id="19" name="Grafik 18">
            <a:extLst>
              <a:ext uri="{FF2B5EF4-FFF2-40B4-BE49-F238E27FC236}">
                <a16:creationId xmlns:a16="http://schemas.microsoft.com/office/drawing/2014/main" id="{02A28E8B-0AE7-5053-BDF7-AFCF8FFBAF96}"/>
              </a:ext>
            </a:extLst>
          </p:cNvPr>
          <p:cNvPicPr>
            <a:picLocks noChangeAspect="1"/>
          </p:cNvPicPr>
          <p:nvPr/>
        </p:nvPicPr>
        <p:blipFill>
          <a:blip r:embed="rId5"/>
          <a:stretch>
            <a:fillRect/>
          </a:stretch>
        </p:blipFill>
        <p:spPr>
          <a:xfrm>
            <a:off x="4551680" y="1434445"/>
            <a:ext cx="6681284" cy="4787285"/>
          </a:xfrm>
          <a:prstGeom prst="rect">
            <a:avLst/>
          </a:prstGeom>
        </p:spPr>
      </p:pic>
    </p:spTree>
    <p:extLst>
      <p:ext uri="{BB962C8B-B14F-4D97-AF65-F5344CB8AC3E}">
        <p14:creationId xmlns:p14="http://schemas.microsoft.com/office/powerpoint/2010/main" val="39441451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4334EFF-8BC3-1674-F2D3-94ECFB2CC9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8" name="think-cell data - do not delete" hidden="1">
                        <a:extLst>
                          <a:ext uri="{FF2B5EF4-FFF2-40B4-BE49-F238E27FC236}">
                            <a16:creationId xmlns:a16="http://schemas.microsoft.com/office/drawing/2014/main" id="{24334EFF-8BC3-1674-F2D3-94ECFB2CC9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tangle 12"/>
          <p:cNvSpPr/>
          <p:nvPr/>
        </p:nvSpPr>
        <p:spPr>
          <a:xfrm>
            <a:off x="8853354" y="5649957"/>
            <a:ext cx="3309258" cy="1205139"/>
          </a:xfrm>
          <a:prstGeom prst="rect">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DE" sz="1400" dirty="0">
              <a:solidFill>
                <a:schemeClr val="tx1"/>
              </a:solidFill>
            </a:endParaRPr>
          </a:p>
        </p:txBody>
      </p:sp>
      <p:sp>
        <p:nvSpPr>
          <p:cNvPr id="2" name="Date Placeholder 1"/>
          <p:cNvSpPr>
            <a:spLocks noGrp="1"/>
          </p:cNvSpPr>
          <p:nvPr>
            <p:ph type="dt" sz="half" idx="16"/>
          </p:nvPr>
        </p:nvSpPr>
        <p:spPr/>
        <p:txBody>
          <a:bodyPr/>
          <a:lstStyle/>
          <a:p>
            <a:fld id="{E7E50480-BB90-4B99-B9E1-445C95F65588}" type="datetime4">
              <a:rPr lang="de-CH" smtClean="0"/>
              <a:t>26. September 2023</a:t>
            </a:fld>
            <a:endParaRPr lang="de-CH" dirty="0"/>
          </a:p>
        </p:txBody>
      </p:sp>
      <p:sp>
        <p:nvSpPr>
          <p:cNvPr id="3" name="Footer Placeholder 2"/>
          <p:cNvSpPr>
            <a:spLocks noGrp="1"/>
          </p:cNvSpPr>
          <p:nvPr>
            <p:ph type="ftr" sz="quarter" idx="17"/>
          </p:nvPr>
        </p:nvSpPr>
        <p:spPr/>
        <p:txBody>
          <a:bodyPr/>
          <a:lstStyle/>
          <a:p>
            <a:r>
              <a:rPr lang="en-US"/>
              <a:t>Wissensnugget - Qualität</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26</a:t>
            </a:fld>
            <a:endParaRPr lang="de-CH" dirty="0"/>
          </a:p>
        </p:txBody>
      </p:sp>
      <p:sp>
        <p:nvSpPr>
          <p:cNvPr id="5" name="Title 4"/>
          <p:cNvSpPr>
            <a:spLocks noGrp="1"/>
          </p:cNvSpPr>
          <p:nvPr>
            <p:ph type="title"/>
          </p:nvPr>
        </p:nvSpPr>
        <p:spPr>
          <a:xfrm>
            <a:off x="388040" y="447148"/>
            <a:ext cx="11053763" cy="684213"/>
          </a:xfrm>
        </p:spPr>
        <p:txBody>
          <a:bodyPr vert="horz">
            <a:normAutofit/>
          </a:bodyPr>
          <a:lstStyle/>
          <a:p>
            <a:r>
              <a:rPr lang="de-DE" dirty="0"/>
              <a:t>Welche Muster werden wann umgesetzt bzw. erwartet?</a:t>
            </a:r>
          </a:p>
        </p:txBody>
      </p:sp>
      <p:sp>
        <p:nvSpPr>
          <p:cNvPr id="7" name="Text Placeholder 6"/>
          <p:cNvSpPr>
            <a:spLocks noGrp="1"/>
          </p:cNvSpPr>
          <p:nvPr>
            <p:ph type="body" sz="quarter" idx="24"/>
          </p:nvPr>
        </p:nvSpPr>
        <p:spPr>
          <a:xfrm>
            <a:off x="388039" y="190702"/>
            <a:ext cx="11053764" cy="286673"/>
          </a:xfrm>
        </p:spPr>
        <p:txBody>
          <a:bodyPr>
            <a:normAutofit fontScale="92500" lnSpcReduction="20000"/>
          </a:bodyPr>
          <a:lstStyle/>
          <a:p>
            <a:r>
              <a:rPr lang="de-CH" dirty="0"/>
              <a:t>Design Prototyp</a:t>
            </a:r>
          </a:p>
        </p:txBody>
      </p:sp>
      <p:graphicFrame>
        <p:nvGraphicFramePr>
          <p:cNvPr id="9" name="Content Placeholder 8"/>
          <p:cNvGraphicFramePr>
            <a:graphicFrameLocks noGrp="1"/>
          </p:cNvGraphicFramePr>
          <p:nvPr>
            <p:ph sz="quarter" idx="21"/>
          </p:nvPr>
        </p:nvGraphicFramePr>
        <p:xfrm>
          <a:off x="388040" y="1158339"/>
          <a:ext cx="11453813" cy="4563798"/>
        </p:xfrm>
        <a:graphic>
          <a:graphicData uri="http://schemas.openxmlformats.org/drawingml/2006/table">
            <a:tbl>
              <a:tblPr firstRow="1" firstCol="1" bandRow="1">
                <a:tableStyleId>{F5AB1C69-6EDB-4FF4-983F-18BD219EF322}</a:tableStyleId>
              </a:tblPr>
              <a:tblGrid>
                <a:gridCol w="1636259">
                  <a:extLst>
                    <a:ext uri="{9D8B030D-6E8A-4147-A177-3AD203B41FA5}">
                      <a16:colId xmlns:a16="http://schemas.microsoft.com/office/drawing/2014/main" val="373613395"/>
                    </a:ext>
                  </a:extLst>
                </a:gridCol>
                <a:gridCol w="1636259">
                  <a:extLst>
                    <a:ext uri="{9D8B030D-6E8A-4147-A177-3AD203B41FA5}">
                      <a16:colId xmlns:a16="http://schemas.microsoft.com/office/drawing/2014/main" val="1340603065"/>
                    </a:ext>
                  </a:extLst>
                </a:gridCol>
                <a:gridCol w="1636259">
                  <a:extLst>
                    <a:ext uri="{9D8B030D-6E8A-4147-A177-3AD203B41FA5}">
                      <a16:colId xmlns:a16="http://schemas.microsoft.com/office/drawing/2014/main" val="3591430100"/>
                    </a:ext>
                  </a:extLst>
                </a:gridCol>
                <a:gridCol w="1636259">
                  <a:extLst>
                    <a:ext uri="{9D8B030D-6E8A-4147-A177-3AD203B41FA5}">
                      <a16:colId xmlns:a16="http://schemas.microsoft.com/office/drawing/2014/main" val="3272947025"/>
                    </a:ext>
                  </a:extLst>
                </a:gridCol>
                <a:gridCol w="1636259">
                  <a:extLst>
                    <a:ext uri="{9D8B030D-6E8A-4147-A177-3AD203B41FA5}">
                      <a16:colId xmlns:a16="http://schemas.microsoft.com/office/drawing/2014/main" val="2617723269"/>
                    </a:ext>
                  </a:extLst>
                </a:gridCol>
                <a:gridCol w="1636259">
                  <a:extLst>
                    <a:ext uri="{9D8B030D-6E8A-4147-A177-3AD203B41FA5}">
                      <a16:colId xmlns:a16="http://schemas.microsoft.com/office/drawing/2014/main" val="855909625"/>
                    </a:ext>
                  </a:extLst>
                </a:gridCol>
                <a:gridCol w="1636259">
                  <a:extLst>
                    <a:ext uri="{9D8B030D-6E8A-4147-A177-3AD203B41FA5}">
                      <a16:colId xmlns:a16="http://schemas.microsoft.com/office/drawing/2014/main" val="3978742985"/>
                    </a:ext>
                  </a:extLst>
                </a:gridCol>
              </a:tblGrid>
              <a:tr h="388038">
                <a:tc>
                  <a:txBody>
                    <a:bodyPr/>
                    <a:lstStyle/>
                    <a:p>
                      <a:pPr algn="ctr"/>
                      <a:endParaRPr lang="de-DE" dirty="0"/>
                    </a:p>
                  </a:txBody>
                  <a:tcPr anchor="ctr">
                    <a:solidFill>
                      <a:schemeClr val="bg1"/>
                    </a:solidFill>
                  </a:tcPr>
                </a:tc>
                <a:tc gridSpan="6">
                  <a:txBody>
                    <a:bodyPr/>
                    <a:lstStyle/>
                    <a:p>
                      <a:pPr algn="ctr"/>
                      <a:r>
                        <a:rPr lang="de-DE" sz="1800" b="1" dirty="0"/>
                        <a:t>Mustertypen</a:t>
                      </a:r>
                    </a:p>
                  </a:txBody>
                  <a:tcPr anchor="ctr"/>
                </a:tc>
                <a:tc hMerge="1">
                  <a:txBody>
                    <a:bodyPr/>
                    <a:lstStyle/>
                    <a:p>
                      <a:pPr marL="0" marR="0" lvl="0" indent="0" algn="ctr" defTabSz="609768" rtl="0" eaLnBrk="1" fontAlgn="auto" latinLnBrk="0" hangingPunct="1">
                        <a:lnSpc>
                          <a:spcPct val="100000"/>
                        </a:lnSpc>
                        <a:spcBef>
                          <a:spcPts val="0"/>
                        </a:spcBef>
                        <a:spcAft>
                          <a:spcPts val="0"/>
                        </a:spcAft>
                        <a:buClrTx/>
                        <a:buSzTx/>
                        <a:buFontTx/>
                        <a:buNone/>
                        <a:tabLst/>
                        <a:defRPr/>
                      </a:pPr>
                      <a:endParaRPr lang="de-DE" b="0" dirty="0"/>
                    </a:p>
                  </a:txBody>
                  <a:tcPr anchor="ctr"/>
                </a:tc>
                <a:tc hMerge="1">
                  <a:txBody>
                    <a:bodyPr/>
                    <a:lstStyle/>
                    <a:p>
                      <a:pPr algn="ctr"/>
                      <a:endParaRPr lang="de-DE" b="0" dirty="0"/>
                    </a:p>
                  </a:txBody>
                  <a:tcPr anchor="ctr"/>
                </a:tc>
                <a:tc hMerge="1">
                  <a:txBody>
                    <a:bodyPr/>
                    <a:lstStyle/>
                    <a:p>
                      <a:pPr algn="ctr"/>
                      <a:endParaRPr lang="de-DE" b="0" dirty="0"/>
                    </a:p>
                  </a:txBody>
                  <a:tcPr anchor="ctr"/>
                </a:tc>
                <a:tc hMerge="1">
                  <a:txBody>
                    <a:bodyPr/>
                    <a:lstStyle/>
                    <a:p>
                      <a:pPr algn="ctr"/>
                      <a:endParaRPr lang="de-DE" b="0" dirty="0"/>
                    </a:p>
                  </a:txBody>
                  <a:tcPr anchor="ctr"/>
                </a:tc>
                <a:tc hMerge="1">
                  <a:txBody>
                    <a:bodyPr/>
                    <a:lstStyle/>
                    <a:p>
                      <a:pPr algn="ctr"/>
                      <a:endParaRPr lang="de-DE" b="0" dirty="0"/>
                    </a:p>
                  </a:txBody>
                  <a:tcPr anchor="ctr"/>
                </a:tc>
                <a:extLst>
                  <a:ext uri="{0D108BD9-81ED-4DB2-BD59-A6C34878D82A}">
                    <a16:rowId xmlns:a16="http://schemas.microsoft.com/office/drawing/2014/main" val="955833741"/>
                  </a:ext>
                </a:extLst>
              </a:tr>
              <a:tr h="892076">
                <a:tc>
                  <a:txBody>
                    <a:bodyPr/>
                    <a:lstStyle/>
                    <a:p>
                      <a:pPr algn="ctr"/>
                      <a:endParaRPr lang="de-DE" dirty="0"/>
                    </a:p>
                  </a:txBody>
                  <a:tcPr anchor="ctr">
                    <a:solidFill>
                      <a:schemeClr val="bg1"/>
                    </a:solidFill>
                  </a:tcPr>
                </a:tc>
                <a:tc>
                  <a:txBody>
                    <a:bodyPr/>
                    <a:lstStyle/>
                    <a:p>
                      <a:pPr algn="ctr"/>
                      <a:r>
                        <a:rPr lang="de-DE" b="1" dirty="0">
                          <a:solidFill>
                            <a:schemeClr val="tx1"/>
                          </a:solidFill>
                        </a:rPr>
                        <a:t>Proof-</a:t>
                      </a:r>
                      <a:r>
                        <a:rPr lang="de-DE" b="1" dirty="0" err="1">
                          <a:solidFill>
                            <a:schemeClr val="tx1"/>
                          </a:solidFill>
                        </a:rPr>
                        <a:t>of</a:t>
                      </a:r>
                      <a:r>
                        <a:rPr lang="de-DE" b="1" baseline="0" dirty="0">
                          <a:solidFill>
                            <a:schemeClr val="tx1"/>
                          </a:solidFill>
                        </a:rPr>
                        <a:t>-</a:t>
                      </a:r>
                      <a:r>
                        <a:rPr lang="de-DE" b="1" baseline="0" dirty="0" err="1">
                          <a:solidFill>
                            <a:schemeClr val="tx1"/>
                          </a:solidFill>
                        </a:rPr>
                        <a:t>Concept</a:t>
                      </a:r>
                      <a:r>
                        <a:rPr lang="de-DE" b="1" baseline="0" dirty="0">
                          <a:solidFill>
                            <a:schemeClr val="tx1"/>
                          </a:solidFill>
                        </a:rPr>
                        <a:t> (POC)</a:t>
                      </a:r>
                    </a:p>
                    <a:p>
                      <a:pPr algn="ctr"/>
                      <a:endParaRPr lang="de-DE" b="1" baseline="0" dirty="0">
                        <a:solidFill>
                          <a:schemeClr val="tx1"/>
                        </a:solidFill>
                      </a:endParaRPr>
                    </a:p>
                    <a:p>
                      <a:pPr algn="ctr"/>
                      <a:r>
                        <a:rPr lang="de-DE" b="0" baseline="0" dirty="0"/>
                        <a:t>Machbarkeits-nachweis</a:t>
                      </a:r>
                      <a:endParaRPr lang="de-DE" b="0" dirty="0"/>
                    </a:p>
                  </a:txBody>
                  <a:tcPr anchor="ctr"/>
                </a:tc>
                <a:tc>
                  <a:txBody>
                    <a:bodyPr/>
                    <a:lstStyle/>
                    <a:p>
                      <a:pPr marL="0" marR="0" lvl="0" indent="0" algn="ctr" defTabSz="609768" rtl="0" eaLnBrk="1" fontAlgn="auto" latinLnBrk="0" hangingPunct="1">
                        <a:lnSpc>
                          <a:spcPct val="100000"/>
                        </a:lnSpc>
                        <a:spcBef>
                          <a:spcPts val="0"/>
                        </a:spcBef>
                        <a:spcAft>
                          <a:spcPts val="0"/>
                        </a:spcAft>
                        <a:buClrTx/>
                        <a:buSzTx/>
                        <a:buFontTx/>
                        <a:buNone/>
                        <a:tabLst/>
                        <a:defRPr/>
                      </a:pPr>
                      <a:r>
                        <a:rPr lang="de-DE" b="1" dirty="0" err="1"/>
                        <a:t>Functional</a:t>
                      </a:r>
                      <a:r>
                        <a:rPr lang="de-DE" b="1" dirty="0"/>
                        <a:t> </a:t>
                      </a:r>
                      <a:r>
                        <a:rPr lang="de-DE" b="1" dirty="0" err="1"/>
                        <a:t>model</a:t>
                      </a:r>
                      <a:r>
                        <a:rPr lang="de-DE" b="1" baseline="0" dirty="0"/>
                        <a:t> (</a:t>
                      </a:r>
                      <a:r>
                        <a:rPr lang="de-DE" b="1" baseline="0" dirty="0" err="1"/>
                        <a:t>Fumo</a:t>
                      </a:r>
                      <a:r>
                        <a:rPr lang="de-DE" b="1" baseline="0" dirty="0"/>
                        <a:t>)</a:t>
                      </a:r>
                    </a:p>
                    <a:p>
                      <a:pPr marL="0" marR="0" lvl="0" indent="0" algn="ctr" defTabSz="609768" rtl="0" eaLnBrk="1" fontAlgn="auto" latinLnBrk="0" hangingPunct="1">
                        <a:lnSpc>
                          <a:spcPct val="100000"/>
                        </a:lnSpc>
                        <a:spcBef>
                          <a:spcPts val="0"/>
                        </a:spcBef>
                        <a:spcAft>
                          <a:spcPts val="0"/>
                        </a:spcAft>
                        <a:buClrTx/>
                        <a:buSzTx/>
                        <a:buFontTx/>
                        <a:buNone/>
                        <a:tabLst/>
                        <a:defRPr/>
                      </a:pPr>
                      <a:endParaRPr lang="de-DE" b="1" baseline="0" dirty="0"/>
                    </a:p>
                    <a:p>
                      <a:pPr marL="0" marR="0" lvl="0" indent="0" algn="ctr" defTabSz="609768" rtl="0" eaLnBrk="1" fontAlgn="auto" latinLnBrk="0" hangingPunct="1">
                        <a:lnSpc>
                          <a:spcPct val="100000"/>
                        </a:lnSpc>
                        <a:spcBef>
                          <a:spcPts val="0"/>
                        </a:spcBef>
                        <a:spcAft>
                          <a:spcPts val="0"/>
                        </a:spcAft>
                        <a:buClrTx/>
                        <a:buSzTx/>
                        <a:buFontTx/>
                        <a:buNone/>
                        <a:tabLst/>
                        <a:defRPr/>
                      </a:pPr>
                      <a:r>
                        <a:rPr lang="de-DE" b="0" dirty="0"/>
                        <a:t>Funktionsmuster</a:t>
                      </a:r>
                      <a:r>
                        <a:rPr lang="de-DE" b="0" baseline="0" dirty="0"/>
                        <a:t> (</a:t>
                      </a:r>
                      <a:r>
                        <a:rPr lang="de-DE" b="0" baseline="0" dirty="0" err="1"/>
                        <a:t>FuMu</a:t>
                      </a:r>
                      <a:r>
                        <a:rPr lang="de-DE" b="0" baseline="0" dirty="0"/>
                        <a:t>)</a:t>
                      </a:r>
                      <a:endParaRPr lang="de-DE" b="0" dirty="0"/>
                    </a:p>
                  </a:txBody>
                  <a:tcPr anchor="ctr"/>
                </a:tc>
                <a:tc>
                  <a:txBody>
                    <a:bodyPr/>
                    <a:lstStyle/>
                    <a:p>
                      <a:pPr algn="ctr"/>
                      <a:r>
                        <a:rPr lang="de-DE" b="1" dirty="0"/>
                        <a:t>Design</a:t>
                      </a:r>
                      <a:r>
                        <a:rPr lang="de-DE" b="1" baseline="0" dirty="0"/>
                        <a:t> </a:t>
                      </a:r>
                      <a:r>
                        <a:rPr lang="de-DE" b="1" baseline="0" dirty="0" err="1"/>
                        <a:t>model</a:t>
                      </a:r>
                      <a:endParaRPr lang="de-DE" b="1" baseline="0" dirty="0"/>
                    </a:p>
                    <a:p>
                      <a:pPr algn="ctr"/>
                      <a:endParaRPr lang="de-DE" b="1" baseline="0" dirty="0"/>
                    </a:p>
                    <a:p>
                      <a:pPr algn="ctr"/>
                      <a:r>
                        <a:rPr lang="de-DE" b="0" baseline="0" dirty="0"/>
                        <a:t>Designmuster </a:t>
                      </a:r>
                      <a:endParaRPr lang="de-DE" b="0" dirty="0"/>
                    </a:p>
                  </a:txBody>
                  <a:tcPr anchor="ctr"/>
                </a:tc>
                <a:tc>
                  <a:txBody>
                    <a:bodyPr/>
                    <a:lstStyle/>
                    <a:p>
                      <a:pPr algn="ctr"/>
                      <a:r>
                        <a:rPr lang="de-DE" b="1" dirty="0"/>
                        <a:t>Prototype</a:t>
                      </a:r>
                    </a:p>
                    <a:p>
                      <a:pPr algn="ctr"/>
                      <a:endParaRPr lang="de-DE" dirty="0"/>
                    </a:p>
                    <a:p>
                      <a:pPr algn="ctr"/>
                      <a:r>
                        <a:rPr lang="de-DE" b="0" dirty="0"/>
                        <a:t>Prototyp</a:t>
                      </a:r>
                    </a:p>
                  </a:txBody>
                  <a:tcPr anchor="ctr"/>
                </a:tc>
                <a:tc>
                  <a:txBody>
                    <a:bodyPr/>
                    <a:lstStyle/>
                    <a:p>
                      <a:pPr algn="ctr"/>
                      <a:r>
                        <a:rPr lang="de-DE" b="1" dirty="0"/>
                        <a:t>Mock-</a:t>
                      </a:r>
                      <a:r>
                        <a:rPr lang="de-DE" b="1" dirty="0" err="1"/>
                        <a:t>up</a:t>
                      </a:r>
                      <a:endParaRPr lang="de-DE" b="1" dirty="0"/>
                    </a:p>
                    <a:p>
                      <a:pPr algn="ctr"/>
                      <a:endParaRPr lang="de-DE" b="0" dirty="0"/>
                    </a:p>
                    <a:p>
                      <a:pPr algn="ctr"/>
                      <a:r>
                        <a:rPr lang="de-DE" b="0" dirty="0"/>
                        <a:t>Attrappe</a:t>
                      </a:r>
                    </a:p>
                  </a:txBody>
                  <a:tcPr anchor="ctr"/>
                </a:tc>
                <a:tc>
                  <a:txBody>
                    <a:bodyPr/>
                    <a:lstStyle/>
                    <a:p>
                      <a:pPr algn="ctr"/>
                      <a:r>
                        <a:rPr lang="de-DE" b="1" dirty="0"/>
                        <a:t>Pilot</a:t>
                      </a:r>
                      <a:r>
                        <a:rPr lang="de-DE" b="1" baseline="0" dirty="0"/>
                        <a:t> </a:t>
                      </a:r>
                      <a:r>
                        <a:rPr lang="de-DE" b="1" baseline="0" dirty="0" err="1"/>
                        <a:t>series</a:t>
                      </a:r>
                      <a:endParaRPr lang="de-DE" b="1" baseline="0" dirty="0"/>
                    </a:p>
                    <a:p>
                      <a:pPr algn="ctr"/>
                      <a:endParaRPr lang="de-DE" dirty="0"/>
                    </a:p>
                    <a:p>
                      <a:pPr algn="ctr"/>
                      <a:r>
                        <a:rPr lang="de-DE" b="0" dirty="0"/>
                        <a:t>Nullserie</a:t>
                      </a:r>
                    </a:p>
                  </a:txBody>
                  <a:tcPr anchor="ctr"/>
                </a:tc>
                <a:extLst>
                  <a:ext uri="{0D108BD9-81ED-4DB2-BD59-A6C34878D82A}">
                    <a16:rowId xmlns:a16="http://schemas.microsoft.com/office/drawing/2014/main" val="2405686837"/>
                  </a:ext>
                </a:extLst>
              </a:tr>
              <a:tr h="2906441">
                <a:tc>
                  <a:txBody>
                    <a:bodyPr/>
                    <a:lstStyle/>
                    <a:p>
                      <a:pPr algn="ctr"/>
                      <a:r>
                        <a:rPr lang="de-DE" sz="1800" dirty="0"/>
                        <a:t>Definition</a:t>
                      </a:r>
                    </a:p>
                  </a:txBody>
                  <a:tcPr anchor="ctr"/>
                </a:tc>
                <a:tc>
                  <a:txBody>
                    <a:bodyPr/>
                    <a:lstStyle/>
                    <a:p>
                      <a:r>
                        <a:rPr lang="de-DE" sz="1200" dirty="0"/>
                        <a:t>Zeigt</a:t>
                      </a:r>
                      <a:r>
                        <a:rPr lang="de-DE" sz="1200" baseline="0" dirty="0"/>
                        <a:t> die prinzipielle Durchführbarkeit eines Vorhabens.</a:t>
                      </a:r>
                    </a:p>
                    <a:p>
                      <a:pPr marL="0" marR="0" lvl="0" indent="0" algn="l" defTabSz="609768" rtl="0" eaLnBrk="1" fontAlgn="auto" latinLnBrk="0" hangingPunct="1">
                        <a:lnSpc>
                          <a:spcPct val="100000"/>
                        </a:lnSpc>
                        <a:spcBef>
                          <a:spcPts val="0"/>
                        </a:spcBef>
                        <a:spcAft>
                          <a:spcPts val="0"/>
                        </a:spcAft>
                        <a:buClrTx/>
                        <a:buSzTx/>
                        <a:buFontTx/>
                        <a:buNone/>
                        <a:tabLst/>
                        <a:defRPr/>
                      </a:pPr>
                      <a:r>
                        <a:rPr lang="de-DE" sz="1200" dirty="0"/>
                        <a:t>Wird</a:t>
                      </a:r>
                      <a:r>
                        <a:rPr lang="de-DE" sz="1200" baseline="0" dirty="0"/>
                        <a:t> schnell und ohne detaillierte Vorgaben entwickelt (Fast-</a:t>
                      </a:r>
                      <a:r>
                        <a:rPr lang="de-DE" sz="1200" baseline="0" dirty="0" err="1"/>
                        <a:t>Prototyping</a:t>
                      </a:r>
                      <a:r>
                        <a:rPr lang="de-DE" sz="1200" baseline="0" dirty="0"/>
                        <a:t>)</a:t>
                      </a:r>
                      <a:endParaRPr lang="de-DE" sz="1200" dirty="0"/>
                    </a:p>
                    <a:p>
                      <a:endParaRPr lang="de-DE" dirty="0"/>
                    </a:p>
                  </a:txBody>
                  <a:tcPr/>
                </a:tc>
                <a:tc>
                  <a:txBody>
                    <a:bodyPr/>
                    <a:lstStyle/>
                    <a:p>
                      <a:r>
                        <a:rPr lang="de-DE" sz="1200" dirty="0"/>
                        <a:t>Ein</a:t>
                      </a:r>
                      <a:r>
                        <a:rPr lang="de-DE" sz="1200" baseline="0" dirty="0"/>
                        <a:t> </a:t>
                      </a:r>
                      <a:r>
                        <a:rPr lang="de-DE" sz="1200" dirty="0"/>
                        <a:t>Funktionsmuster zeigt die generellen</a:t>
                      </a:r>
                      <a:r>
                        <a:rPr lang="de-DE" sz="1200" baseline="0" dirty="0"/>
                        <a:t> Funktionen einer Konstruktion. Es kann noch wesentliche Anforderungen weglassen (z.B. Sicherheit oder Design)</a:t>
                      </a:r>
                    </a:p>
                    <a:p>
                      <a:r>
                        <a:rPr lang="de-DE" sz="1200" baseline="0" dirty="0"/>
                        <a:t>Manchmal wird es auch MVP (Minimal </a:t>
                      </a:r>
                      <a:r>
                        <a:rPr lang="de-DE" sz="1200" baseline="0" dirty="0" err="1"/>
                        <a:t>Viable</a:t>
                      </a:r>
                      <a:r>
                        <a:rPr lang="de-DE" sz="1200" baseline="0" dirty="0"/>
                        <a:t> </a:t>
                      </a:r>
                      <a:r>
                        <a:rPr lang="de-DE" sz="1200" baseline="0" dirty="0" err="1"/>
                        <a:t>Product</a:t>
                      </a:r>
                      <a:r>
                        <a:rPr lang="de-DE" sz="1200" baseline="0" dirty="0"/>
                        <a:t>) bei Software genannt.</a:t>
                      </a:r>
                      <a:endParaRPr lang="de-DE" sz="1200" dirty="0"/>
                    </a:p>
                  </a:txBody>
                  <a:tcPr/>
                </a:tc>
                <a:tc>
                  <a:txBody>
                    <a:bodyPr/>
                    <a:lstStyle/>
                    <a:p>
                      <a:r>
                        <a:rPr lang="de-DE" sz="1200" dirty="0"/>
                        <a:t>Ein Desig</a:t>
                      </a:r>
                      <a:r>
                        <a:rPr lang="de-DE" sz="1200" baseline="0" dirty="0"/>
                        <a:t>nmuster wird vor allem bei Konsumgütern für eine Klärung der Kundenakzeptanz in Design (Form, Farbe) genutzt. Es wird oftmals als Vorgabe für die Konstruktion genutzt. </a:t>
                      </a:r>
                      <a:endParaRPr lang="de-DE" sz="1200" dirty="0"/>
                    </a:p>
                  </a:txBody>
                  <a:tcPr/>
                </a:tc>
                <a:tc>
                  <a:txBody>
                    <a:bodyPr/>
                    <a:lstStyle/>
                    <a:p>
                      <a:r>
                        <a:rPr lang="de-DE" sz="1200" dirty="0"/>
                        <a:t>Ein Prototyp vereint die Funktionen und das Design und</a:t>
                      </a:r>
                      <a:r>
                        <a:rPr lang="de-DE" sz="1200" baseline="0" dirty="0"/>
                        <a:t> ist seriennah. Er kann für Test (Lebensdauer, Usability) genutzt werden.</a:t>
                      </a:r>
                      <a:endParaRPr lang="de-DE" sz="1200" dirty="0"/>
                    </a:p>
                  </a:txBody>
                  <a:tcPr/>
                </a:tc>
                <a:tc>
                  <a:txBody>
                    <a:bodyPr/>
                    <a:lstStyle/>
                    <a:p>
                      <a:pPr marL="0" marR="0" lvl="0" indent="0" algn="l" defTabSz="609768" rtl="0" eaLnBrk="1" fontAlgn="auto" latinLnBrk="0" hangingPunct="1">
                        <a:lnSpc>
                          <a:spcPct val="100000"/>
                        </a:lnSpc>
                        <a:spcBef>
                          <a:spcPts val="0"/>
                        </a:spcBef>
                        <a:spcAft>
                          <a:spcPts val="0"/>
                        </a:spcAft>
                        <a:buClrTx/>
                        <a:buSzTx/>
                        <a:buFontTx/>
                        <a:buNone/>
                        <a:tabLst/>
                        <a:defRPr/>
                      </a:pPr>
                      <a:r>
                        <a:rPr lang="de-DE" sz="1200" dirty="0"/>
                        <a:t>Ein </a:t>
                      </a:r>
                      <a:r>
                        <a:rPr lang="de-DE" sz="1200" dirty="0" err="1"/>
                        <a:t>Moc-kup</a:t>
                      </a:r>
                      <a:r>
                        <a:rPr lang="de-DE" sz="1200" baseline="0" dirty="0"/>
                        <a:t> ist eine Attrappe des Produktes um die Gebrauch und Nutzungs-tauglichkeit zu prüfen. Es k</a:t>
                      </a:r>
                      <a:r>
                        <a:rPr lang="de-DE" sz="1200" dirty="0"/>
                        <a:t>ann auch mit</a:t>
                      </a:r>
                      <a:r>
                        <a:rPr lang="de-DE" sz="1200" baseline="0" dirty="0"/>
                        <a:t> Virtual Reality nachgebildet werden.</a:t>
                      </a:r>
                      <a:endParaRPr lang="de-DE" sz="1200" dirty="0"/>
                    </a:p>
                    <a:p>
                      <a:endParaRPr lang="de-DE" sz="1200" dirty="0"/>
                    </a:p>
                  </a:txBody>
                  <a:tcPr/>
                </a:tc>
                <a:tc>
                  <a:txBody>
                    <a:bodyPr/>
                    <a:lstStyle/>
                    <a:p>
                      <a:r>
                        <a:rPr lang="de-CH" sz="1200" dirty="0"/>
                        <a:t>Die Nullserie dient der Absicherung des Produktionsablaufes zur Serienfertigung.</a:t>
                      </a:r>
                      <a:r>
                        <a:rPr lang="de-CH" sz="1200" baseline="0" dirty="0"/>
                        <a:t> </a:t>
                      </a:r>
                      <a:r>
                        <a:rPr lang="de-CH" sz="1200" dirty="0"/>
                        <a:t>Die Funktion der Betriebsmittel und </a:t>
                      </a:r>
                    </a:p>
                    <a:p>
                      <a:r>
                        <a:rPr lang="de-CH" sz="1200" dirty="0"/>
                        <a:t>Systeme wird unter Produktionsbedingungen auf verketteten Anlagen erprobt. Damit wird die </a:t>
                      </a:r>
                    </a:p>
                    <a:p>
                      <a:r>
                        <a:rPr lang="de-CH" sz="1200" dirty="0"/>
                        <a:t>Prozessfähigkeit der Betriebsmittel, Prüfabläufe und -einrichtungen bestätigt.</a:t>
                      </a:r>
                      <a:endParaRPr lang="de-DE" sz="1200" dirty="0"/>
                    </a:p>
                  </a:txBody>
                  <a:tcPr/>
                </a:tc>
                <a:extLst>
                  <a:ext uri="{0D108BD9-81ED-4DB2-BD59-A6C34878D82A}">
                    <a16:rowId xmlns:a16="http://schemas.microsoft.com/office/drawing/2014/main" val="4132575524"/>
                  </a:ext>
                </a:extLst>
              </a:tr>
            </a:tbl>
          </a:graphicData>
        </a:graphic>
      </p:graphicFrame>
      <p:sp>
        <p:nvSpPr>
          <p:cNvPr id="10" name="Right Arrow 9"/>
          <p:cNvSpPr/>
          <p:nvPr/>
        </p:nvSpPr>
        <p:spPr>
          <a:xfrm>
            <a:off x="2320506" y="5667900"/>
            <a:ext cx="8021350" cy="669244"/>
          </a:xfrm>
          <a:prstGeom prst="rightArrow">
            <a:avLst/>
          </a:prstGeom>
          <a:solidFill>
            <a:srgbClr val="D0A9D0"/>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600" dirty="0">
                <a:solidFill>
                  <a:schemeClr val="tx1"/>
                </a:solidFill>
              </a:rPr>
              <a:t>Reifegrad</a:t>
            </a:r>
            <a:endParaRPr lang="de-DE" sz="1400" dirty="0">
              <a:solidFill>
                <a:schemeClr val="tx1"/>
              </a:solidFill>
            </a:endParaRPr>
          </a:p>
        </p:txBody>
      </p:sp>
      <p:sp>
        <p:nvSpPr>
          <p:cNvPr id="11" name="Diamond 10"/>
          <p:cNvSpPr/>
          <p:nvPr/>
        </p:nvSpPr>
        <p:spPr>
          <a:xfrm>
            <a:off x="10418082" y="5561697"/>
            <a:ext cx="1190171" cy="852331"/>
          </a:xfrm>
          <a:prstGeom prst="diamond">
            <a:avLst/>
          </a:prstGeom>
          <a:solidFill>
            <a:srgbClr val="D0A9D0"/>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b="1" dirty="0">
                <a:solidFill>
                  <a:schemeClr val="tx1"/>
                </a:solidFill>
              </a:rPr>
              <a:t>SOP</a:t>
            </a:r>
          </a:p>
        </p:txBody>
      </p:sp>
      <p:sp>
        <p:nvSpPr>
          <p:cNvPr id="12" name="TextBox 11"/>
          <p:cNvSpPr txBox="1"/>
          <p:nvPr/>
        </p:nvSpPr>
        <p:spPr>
          <a:xfrm>
            <a:off x="10272845" y="6478324"/>
            <a:ext cx="914400" cy="914400"/>
          </a:xfrm>
          <a:prstGeom prst="rect">
            <a:avLst/>
          </a:prstGeom>
          <a:noFill/>
        </p:spPr>
        <p:txBody>
          <a:bodyPr wrap="none" lIns="0" tIns="0" rIns="0" bIns="0" rtlCol="0">
            <a:normAutofit/>
          </a:bodyPr>
          <a:lstStyle/>
          <a:p>
            <a:pPr algn="l">
              <a:spcAft>
                <a:spcPts val="600"/>
              </a:spcAft>
              <a:buClr>
                <a:schemeClr val="tx2"/>
              </a:buClr>
            </a:pPr>
            <a:r>
              <a:rPr lang="de-DE" sz="1050" dirty="0">
                <a:ea typeface="Roboto Medium" panose="02000000000000000000" pitchFamily="2" charset="0"/>
              </a:rPr>
              <a:t>SOP: Start </a:t>
            </a:r>
            <a:r>
              <a:rPr lang="de-DE" sz="1050" dirty="0" err="1">
                <a:ea typeface="Roboto Medium" panose="02000000000000000000" pitchFamily="2" charset="0"/>
              </a:rPr>
              <a:t>of</a:t>
            </a:r>
            <a:r>
              <a:rPr lang="de-DE" sz="1050" dirty="0">
                <a:ea typeface="Roboto Medium" panose="02000000000000000000" pitchFamily="2" charset="0"/>
              </a:rPr>
              <a:t> </a:t>
            </a:r>
            <a:r>
              <a:rPr lang="de-DE" sz="1050" dirty="0" err="1">
                <a:ea typeface="Roboto Medium" panose="02000000000000000000" pitchFamily="2" charset="0"/>
              </a:rPr>
              <a:t>production</a:t>
            </a:r>
            <a:endParaRPr lang="de-DE" sz="1050" dirty="0">
              <a:ea typeface="Roboto Medium" panose="02000000000000000000" pitchFamily="2" charset="0"/>
            </a:endParaRPr>
          </a:p>
        </p:txBody>
      </p:sp>
    </p:spTree>
    <p:extLst>
      <p:ext uri="{BB962C8B-B14F-4D97-AF65-F5344CB8AC3E}">
        <p14:creationId xmlns:p14="http://schemas.microsoft.com/office/powerpoint/2010/main" val="24422769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445B437-43A0-3ED2-8D7A-D7B9B9554D62}"/>
              </a:ext>
            </a:extLst>
          </p:cNvPr>
          <p:cNvGraphicFramePr>
            <a:graphicFrameLocks noChangeAspect="1"/>
          </p:cNvGraphicFramePr>
          <p:nvPr>
            <p:custDataLst>
              <p:tags r:id="rId1"/>
            </p:custDataLst>
            <p:extLst>
              <p:ext uri="{D42A27DB-BD31-4B8C-83A1-F6EECF244321}">
                <p14:modId xmlns:p14="http://schemas.microsoft.com/office/powerpoint/2010/main" val="157975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7" name="think-cell data - do not delete" hidden="1">
                        <a:extLst>
                          <a:ext uri="{FF2B5EF4-FFF2-40B4-BE49-F238E27FC236}">
                            <a16:creationId xmlns:a16="http://schemas.microsoft.com/office/drawing/2014/main" id="{2445B437-43A0-3ED2-8D7A-D7B9B9554D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Placeholder 12"/>
          <p:cNvPicPr>
            <a:picLocks noGrp="1" noChangeAspect="1"/>
          </p:cNvPicPr>
          <p:nvPr>
            <p:ph type="pic" sz="quarter" idx="12"/>
          </p:nvPr>
        </p:nvPicPr>
        <p:blipFill>
          <a:blip r:embed="rId6"/>
          <a:srcRect t="1463" b="1463"/>
          <a:stretch/>
        </p:blipFill>
        <p:spPr/>
      </p:pic>
      <p:sp>
        <p:nvSpPr>
          <p:cNvPr id="8" name="Title 7"/>
          <p:cNvSpPr>
            <a:spLocks noGrp="1"/>
          </p:cNvSpPr>
          <p:nvPr>
            <p:ph type="ctrTitle"/>
          </p:nvPr>
        </p:nvSpPr>
        <p:spPr>
          <a:xfrm>
            <a:off x="5338531" y="3550464"/>
            <a:ext cx="5957391" cy="674200"/>
          </a:xfrm>
        </p:spPr>
        <p:txBody>
          <a:bodyPr vert="horz"/>
          <a:lstStyle/>
          <a:p>
            <a:r>
              <a:rPr lang="de-DE" sz="3200" dirty="0"/>
              <a:t>Testen &amp; bewerten</a:t>
            </a:r>
            <a:endParaRPr lang="de-DE" dirty="0"/>
          </a:p>
        </p:txBody>
      </p:sp>
      <p:sp>
        <p:nvSpPr>
          <p:cNvPr id="10" name="Text Placeholder 9"/>
          <p:cNvSpPr>
            <a:spLocks noGrp="1"/>
          </p:cNvSpPr>
          <p:nvPr>
            <p:ph type="body" sz="quarter" idx="13"/>
          </p:nvPr>
        </p:nvSpPr>
        <p:spPr/>
        <p:txBody>
          <a:bodyPr/>
          <a:lstStyle/>
          <a:p>
            <a:endParaRPr lang="en-US" dirty="0"/>
          </a:p>
        </p:txBody>
      </p:sp>
      <p:sp>
        <p:nvSpPr>
          <p:cNvPr id="3" name="Footer Placeholder 2"/>
          <p:cNvSpPr>
            <a:spLocks noGrp="1"/>
          </p:cNvSpPr>
          <p:nvPr>
            <p:ph type="ftr" sz="quarter" idx="4294967295"/>
          </p:nvPr>
        </p:nvSpPr>
        <p:spPr>
          <a:xfrm>
            <a:off x="538163" y="6454775"/>
            <a:ext cx="5364163" cy="333375"/>
          </a:xfrm>
        </p:spPr>
        <p:txBody>
          <a:bodyPr/>
          <a:lstStyle/>
          <a:p>
            <a:r>
              <a:rPr lang="en-US"/>
              <a:t>Wissensnugget - Qualität</a:t>
            </a:r>
            <a:endParaRPr lang="de-CH" dirty="0"/>
          </a:p>
        </p:txBody>
      </p:sp>
      <p:sp>
        <p:nvSpPr>
          <p:cNvPr id="4" name="Slide Number Placeholder 3"/>
          <p:cNvSpPr>
            <a:spLocks noGrp="1"/>
          </p:cNvSpPr>
          <p:nvPr>
            <p:ph type="sldNum" sz="quarter" idx="4294967295"/>
          </p:nvPr>
        </p:nvSpPr>
        <p:spPr>
          <a:xfrm>
            <a:off x="0" y="6453188"/>
            <a:ext cx="538163" cy="179387"/>
          </a:xfrm>
        </p:spPr>
        <p:txBody>
          <a:bodyPr/>
          <a:lstStyle/>
          <a:p>
            <a:fld id="{4EAC321B-7500-4259-A00F-915439A35E15}" type="slidenum">
              <a:rPr lang="de-CH" smtClean="0"/>
              <a:pPr/>
              <a:t>27</a:t>
            </a:fld>
            <a:endParaRPr lang="de-CH" dirty="0"/>
          </a:p>
        </p:txBody>
      </p:sp>
      <p:sp>
        <p:nvSpPr>
          <p:cNvPr id="2" name="Date Placeholder 1"/>
          <p:cNvSpPr>
            <a:spLocks noGrp="1"/>
          </p:cNvSpPr>
          <p:nvPr>
            <p:ph type="dt" sz="half" idx="10"/>
          </p:nvPr>
        </p:nvSpPr>
        <p:spPr/>
        <p:txBody>
          <a:bodyPr/>
          <a:lstStyle/>
          <a:p>
            <a:fld id="{C3349978-E1DE-457F-9C10-49D5B3463624}" type="datetime4">
              <a:rPr lang="de-CH" smtClean="0"/>
              <a:t>26. September 2023</a:t>
            </a:fld>
            <a:endParaRPr lang="de-CH" dirty="0"/>
          </a:p>
        </p:txBody>
      </p:sp>
    </p:spTree>
    <p:extLst>
      <p:ext uri="{BB962C8B-B14F-4D97-AF65-F5344CB8AC3E}">
        <p14:creationId xmlns:p14="http://schemas.microsoft.com/office/powerpoint/2010/main" val="12470789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933437D-376F-E17F-CD7C-D13313FD3645}"/>
              </a:ext>
            </a:extLst>
          </p:cNvPr>
          <p:cNvGraphicFramePr>
            <a:graphicFrameLocks noChangeAspect="1"/>
          </p:cNvGraphicFramePr>
          <p:nvPr>
            <p:custDataLst>
              <p:tags r:id="rId1"/>
            </p:custDataLst>
            <p:extLst>
              <p:ext uri="{D42A27DB-BD31-4B8C-83A1-F6EECF244321}">
                <p14:modId xmlns:p14="http://schemas.microsoft.com/office/powerpoint/2010/main" val="2213618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9" name="think-cell data - do not delete" hidden="1">
                        <a:extLst>
                          <a:ext uri="{FF2B5EF4-FFF2-40B4-BE49-F238E27FC236}">
                            <a16:creationId xmlns:a16="http://schemas.microsoft.com/office/drawing/2014/main" id="{E933437D-376F-E17F-CD7C-D13313FD36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7E7822C2-9FB9-48CF-B4A4-F68A2F27DAFF}"/>
              </a:ext>
            </a:extLst>
          </p:cNvPr>
          <p:cNvSpPr>
            <a:spLocks noGrp="1"/>
          </p:cNvSpPr>
          <p:nvPr>
            <p:ph type="dt" sz="half" idx="16"/>
          </p:nvPr>
        </p:nvSpPr>
        <p:spPr/>
        <p:txBody>
          <a:bodyPr/>
          <a:lstStyle/>
          <a:p>
            <a:fld id="{80C9161A-D2E3-4479-8BC8-9F316F438BF6}" type="datetime4">
              <a:rPr lang="de-CH" smtClean="0"/>
              <a:t>26. September 2023</a:t>
            </a:fld>
            <a:endParaRPr lang="de-CH" dirty="0"/>
          </a:p>
        </p:txBody>
      </p:sp>
      <p:sp>
        <p:nvSpPr>
          <p:cNvPr id="3" name="Fußzeilenplatzhalter 2">
            <a:extLst>
              <a:ext uri="{FF2B5EF4-FFF2-40B4-BE49-F238E27FC236}">
                <a16:creationId xmlns:a16="http://schemas.microsoft.com/office/drawing/2014/main" id="{A776DCCB-1328-5805-D412-D3735D3DBC16}"/>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BE6EC47B-3510-3026-2757-FC77958FDF67}"/>
              </a:ext>
            </a:extLst>
          </p:cNvPr>
          <p:cNvSpPr>
            <a:spLocks noGrp="1"/>
          </p:cNvSpPr>
          <p:nvPr>
            <p:ph type="sldNum" sz="quarter" idx="18"/>
          </p:nvPr>
        </p:nvSpPr>
        <p:spPr/>
        <p:txBody>
          <a:bodyPr/>
          <a:lstStyle/>
          <a:p>
            <a:fld id="{4EAC321B-7500-4259-A00F-915439A35E15}" type="slidenum">
              <a:rPr lang="de-CH" smtClean="0"/>
              <a:pPr/>
              <a:t>28</a:t>
            </a:fld>
            <a:endParaRPr lang="de-CH" dirty="0"/>
          </a:p>
        </p:txBody>
      </p:sp>
      <p:sp>
        <p:nvSpPr>
          <p:cNvPr id="5" name="Titel 4">
            <a:extLst>
              <a:ext uri="{FF2B5EF4-FFF2-40B4-BE49-F238E27FC236}">
                <a16:creationId xmlns:a16="http://schemas.microsoft.com/office/drawing/2014/main" id="{F4AE26AF-182C-7001-B2D2-42A1D749EE53}"/>
              </a:ext>
            </a:extLst>
          </p:cNvPr>
          <p:cNvSpPr>
            <a:spLocks noGrp="1"/>
          </p:cNvSpPr>
          <p:nvPr>
            <p:ph type="title"/>
          </p:nvPr>
        </p:nvSpPr>
        <p:spPr/>
        <p:txBody>
          <a:bodyPr vert="horz"/>
          <a:lstStyle/>
          <a:p>
            <a:r>
              <a:rPr lang="de-CH" dirty="0"/>
              <a:t>V-Modell VDI 2206</a:t>
            </a:r>
          </a:p>
        </p:txBody>
      </p:sp>
      <p:sp>
        <p:nvSpPr>
          <p:cNvPr id="6" name="Inhaltsplatzhalter 5">
            <a:extLst>
              <a:ext uri="{FF2B5EF4-FFF2-40B4-BE49-F238E27FC236}">
                <a16:creationId xmlns:a16="http://schemas.microsoft.com/office/drawing/2014/main" id="{5650027B-643D-5C64-D285-B83CB8A4EEC2}"/>
              </a:ext>
            </a:extLst>
          </p:cNvPr>
          <p:cNvSpPr>
            <a:spLocks noGrp="1"/>
          </p:cNvSpPr>
          <p:nvPr>
            <p:ph sz="quarter" idx="21"/>
          </p:nvPr>
        </p:nvSpPr>
        <p:spPr/>
        <p:txBody>
          <a:bodyPr>
            <a:normAutofit fontScale="92500" lnSpcReduction="20000"/>
          </a:bodyPr>
          <a:lstStyle/>
          <a:p>
            <a:pPr>
              <a:defRPr/>
            </a:pPr>
            <a:r>
              <a:rPr lang="de-CH" dirty="0"/>
              <a:t>Interdisziplinäre Produkt-Entwicklung:</a:t>
            </a:r>
          </a:p>
          <a:p>
            <a:pPr lvl="1">
              <a:defRPr/>
            </a:pPr>
            <a:r>
              <a:rPr lang="de-CH" dirty="0"/>
              <a:t>Mechanik</a:t>
            </a:r>
          </a:p>
          <a:p>
            <a:pPr lvl="1">
              <a:defRPr/>
            </a:pPr>
            <a:r>
              <a:rPr lang="de-CH" dirty="0"/>
              <a:t>Elektronik</a:t>
            </a:r>
          </a:p>
          <a:p>
            <a:pPr lvl="1">
              <a:defRPr/>
            </a:pPr>
            <a:r>
              <a:rPr lang="de-CH" dirty="0"/>
              <a:t>Software</a:t>
            </a:r>
          </a:p>
          <a:p>
            <a:pPr lvl="1">
              <a:defRPr/>
            </a:pPr>
            <a:r>
              <a:rPr lang="de-CH" dirty="0"/>
              <a:t>...</a:t>
            </a:r>
          </a:p>
          <a:p>
            <a:pPr>
              <a:defRPr/>
            </a:pPr>
            <a:r>
              <a:rPr lang="de-CH" dirty="0"/>
              <a:t>Gemeinsamer Systementwurf</a:t>
            </a:r>
          </a:p>
          <a:p>
            <a:pPr>
              <a:defRPr/>
            </a:pPr>
            <a:r>
              <a:rPr lang="de-CH" dirty="0"/>
              <a:t>Gemeinsame Modularisierung auf Systemebene</a:t>
            </a:r>
          </a:p>
          <a:p>
            <a:pPr>
              <a:defRPr/>
            </a:pPr>
            <a:r>
              <a:rPr lang="de-CH" dirty="0"/>
              <a:t>Domänenspezifische Entwicklung</a:t>
            </a:r>
          </a:p>
          <a:p>
            <a:pPr>
              <a:defRPr/>
            </a:pPr>
            <a:r>
              <a:rPr lang="de-CH" dirty="0"/>
              <a:t>Systemintegration</a:t>
            </a:r>
          </a:p>
          <a:p>
            <a:pPr lvl="1">
              <a:defRPr/>
            </a:pPr>
            <a:r>
              <a:rPr lang="de-CH" dirty="0"/>
              <a:t>Test auf Modul-Ebene</a:t>
            </a:r>
          </a:p>
          <a:p>
            <a:pPr lvl="1">
              <a:defRPr/>
            </a:pPr>
            <a:r>
              <a:rPr lang="de-CH" dirty="0"/>
              <a:t>Test auf Subsystem-Ebene</a:t>
            </a:r>
          </a:p>
          <a:p>
            <a:pPr lvl="1">
              <a:defRPr/>
            </a:pPr>
            <a:r>
              <a:rPr lang="de-CH" dirty="0"/>
              <a:t>Test auf Gesamtsystem-Ebene</a:t>
            </a:r>
          </a:p>
          <a:p>
            <a:endParaRPr lang="de-CH" dirty="0"/>
          </a:p>
        </p:txBody>
      </p:sp>
      <p:sp>
        <p:nvSpPr>
          <p:cNvPr id="7" name="Textplatzhalter 6">
            <a:extLst>
              <a:ext uri="{FF2B5EF4-FFF2-40B4-BE49-F238E27FC236}">
                <a16:creationId xmlns:a16="http://schemas.microsoft.com/office/drawing/2014/main" id="{2CE48212-9471-7325-4A14-8E8F5F468160}"/>
              </a:ext>
            </a:extLst>
          </p:cNvPr>
          <p:cNvSpPr>
            <a:spLocks noGrp="1"/>
          </p:cNvSpPr>
          <p:nvPr>
            <p:ph type="body" sz="quarter" idx="24"/>
          </p:nvPr>
        </p:nvSpPr>
        <p:spPr/>
        <p:txBody>
          <a:bodyPr>
            <a:normAutofit fontScale="92500" lnSpcReduction="20000"/>
          </a:bodyPr>
          <a:lstStyle/>
          <a:p>
            <a:r>
              <a:rPr lang="de-CH" dirty="0"/>
              <a:t>Testen &amp; bewerten</a:t>
            </a:r>
          </a:p>
        </p:txBody>
      </p:sp>
      <p:pic>
        <p:nvPicPr>
          <p:cNvPr id="10" name="Content Placeholder 14">
            <a:extLst>
              <a:ext uri="{FF2B5EF4-FFF2-40B4-BE49-F238E27FC236}">
                <a16:creationId xmlns:a16="http://schemas.microsoft.com/office/drawing/2014/main" id="{17F72570-A70A-4CE8-1AC0-C5D2265AB622}"/>
              </a:ext>
            </a:extLst>
          </p:cNvPr>
          <p:cNvPicPr>
            <a:picLocks noChangeAspect="1"/>
          </p:cNvPicPr>
          <p:nvPr/>
        </p:nvPicPr>
        <p:blipFill>
          <a:blip r:embed="rId5"/>
          <a:stretch>
            <a:fillRect/>
          </a:stretch>
        </p:blipFill>
        <p:spPr>
          <a:xfrm>
            <a:off x="6423344" y="334039"/>
            <a:ext cx="5545398" cy="4878284"/>
          </a:xfrm>
          <a:prstGeom prst="rect">
            <a:avLst/>
          </a:prstGeom>
        </p:spPr>
      </p:pic>
      <p:sp>
        <p:nvSpPr>
          <p:cNvPr id="11" name="Textfeld 10">
            <a:extLst>
              <a:ext uri="{FF2B5EF4-FFF2-40B4-BE49-F238E27FC236}">
                <a16:creationId xmlns:a16="http://schemas.microsoft.com/office/drawing/2014/main" id="{1D484D98-4268-E2C2-223E-32471A3A90D2}"/>
              </a:ext>
            </a:extLst>
          </p:cNvPr>
          <p:cNvSpPr txBox="1"/>
          <p:nvPr/>
        </p:nvSpPr>
        <p:spPr>
          <a:xfrm>
            <a:off x="6758624" y="5200650"/>
            <a:ext cx="5365749" cy="986218"/>
          </a:xfrm>
          <a:prstGeom prst="rect">
            <a:avLst/>
          </a:prstGeom>
          <a:solidFill>
            <a:schemeClr val="bg1"/>
          </a:solidFill>
          <a:ln w="28575">
            <a:noFill/>
            <a:miter lim="800000"/>
          </a:ln>
        </p:spPr>
        <p:txBody>
          <a:bodyPr wrap="square" lIns="108000" tIns="36000" rIns="108000" bIns="72000" rtlCol="0">
            <a:spAutoFit/>
          </a:bodyPr>
          <a:lstStyle/>
          <a:p>
            <a:pPr>
              <a:spcAft>
                <a:spcPts val="600"/>
              </a:spcAft>
              <a:buClr>
                <a:schemeClr val="tx2"/>
              </a:buClr>
            </a:pPr>
            <a:r>
              <a:rPr lang="de-CH" sz="1900" dirty="0">
                <a:ea typeface="Roboto Medium" panose="02000000000000000000" pitchFamily="2" charset="0"/>
              </a:rPr>
              <a:t>Die linke Seite des "V" repräsentiert die Entwicklungsphase, während die rechte Seite die Test- und Validierungsphase darstellt.</a:t>
            </a:r>
          </a:p>
        </p:txBody>
      </p:sp>
    </p:spTree>
    <p:extLst>
      <p:ext uri="{BB962C8B-B14F-4D97-AF65-F5344CB8AC3E}">
        <p14:creationId xmlns:p14="http://schemas.microsoft.com/office/powerpoint/2010/main" val="5055353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ADBF853-F66B-D533-91E6-730137597365}"/>
              </a:ext>
            </a:extLst>
          </p:cNvPr>
          <p:cNvGraphicFramePr>
            <a:graphicFrameLocks noChangeAspect="1"/>
          </p:cNvGraphicFramePr>
          <p:nvPr>
            <p:custDataLst>
              <p:tags r:id="rId1"/>
            </p:custDataLst>
            <p:extLst>
              <p:ext uri="{D42A27DB-BD31-4B8C-83A1-F6EECF244321}">
                <p14:modId xmlns:p14="http://schemas.microsoft.com/office/powerpoint/2010/main" val="1749205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10" name="think-cell data - do not delete" hidden="1">
                        <a:extLst>
                          <a:ext uri="{FF2B5EF4-FFF2-40B4-BE49-F238E27FC236}">
                            <a16:creationId xmlns:a16="http://schemas.microsoft.com/office/drawing/2014/main" id="{4ADBF853-F66B-D533-91E6-7301375973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904F7432-6C19-8D69-2EB4-D95A13A8F7F1}"/>
              </a:ext>
            </a:extLst>
          </p:cNvPr>
          <p:cNvSpPr>
            <a:spLocks noGrp="1"/>
          </p:cNvSpPr>
          <p:nvPr>
            <p:ph type="dt" sz="half" idx="16"/>
          </p:nvPr>
        </p:nvSpPr>
        <p:spPr/>
        <p:txBody>
          <a:bodyPr/>
          <a:lstStyle/>
          <a:p>
            <a:fld id="{80C9161A-D2E3-4479-8BC8-9F316F438BF6}" type="datetime4">
              <a:rPr lang="de-CH" smtClean="0"/>
              <a:t>26. September 2023</a:t>
            </a:fld>
            <a:endParaRPr lang="de-CH" dirty="0"/>
          </a:p>
        </p:txBody>
      </p:sp>
      <p:sp>
        <p:nvSpPr>
          <p:cNvPr id="3" name="Fußzeilenplatzhalter 2">
            <a:extLst>
              <a:ext uri="{FF2B5EF4-FFF2-40B4-BE49-F238E27FC236}">
                <a16:creationId xmlns:a16="http://schemas.microsoft.com/office/drawing/2014/main" id="{F094924F-682B-539F-4193-2A2A3F7DCEEB}"/>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65B8E674-2473-E24B-9D0B-B06B5D043EB2}"/>
              </a:ext>
            </a:extLst>
          </p:cNvPr>
          <p:cNvSpPr>
            <a:spLocks noGrp="1"/>
          </p:cNvSpPr>
          <p:nvPr>
            <p:ph type="sldNum" sz="quarter" idx="18"/>
          </p:nvPr>
        </p:nvSpPr>
        <p:spPr/>
        <p:txBody>
          <a:bodyPr/>
          <a:lstStyle/>
          <a:p>
            <a:fld id="{4EAC321B-7500-4259-A00F-915439A35E15}" type="slidenum">
              <a:rPr lang="de-CH" smtClean="0"/>
              <a:pPr/>
              <a:t>29</a:t>
            </a:fld>
            <a:endParaRPr lang="de-CH" dirty="0"/>
          </a:p>
        </p:txBody>
      </p:sp>
      <p:sp>
        <p:nvSpPr>
          <p:cNvPr id="5" name="Titel 4">
            <a:extLst>
              <a:ext uri="{FF2B5EF4-FFF2-40B4-BE49-F238E27FC236}">
                <a16:creationId xmlns:a16="http://schemas.microsoft.com/office/drawing/2014/main" id="{8C61A139-5E9C-E58E-B5DE-4259C9D5E5A5}"/>
              </a:ext>
            </a:extLst>
          </p:cNvPr>
          <p:cNvSpPr>
            <a:spLocks noGrp="1"/>
          </p:cNvSpPr>
          <p:nvPr>
            <p:ph type="title"/>
          </p:nvPr>
        </p:nvSpPr>
        <p:spPr/>
        <p:txBody>
          <a:bodyPr vert="horz"/>
          <a:lstStyle/>
          <a:p>
            <a:r>
              <a:rPr lang="de-CH" dirty="0"/>
              <a:t>Aufbau des V-Modells</a:t>
            </a:r>
          </a:p>
        </p:txBody>
      </p:sp>
      <p:sp>
        <p:nvSpPr>
          <p:cNvPr id="6" name="Inhaltsplatzhalter 5">
            <a:extLst>
              <a:ext uri="{FF2B5EF4-FFF2-40B4-BE49-F238E27FC236}">
                <a16:creationId xmlns:a16="http://schemas.microsoft.com/office/drawing/2014/main" id="{48C2C6BE-9150-B024-9B17-4C56F09D8C87}"/>
              </a:ext>
            </a:extLst>
          </p:cNvPr>
          <p:cNvSpPr>
            <a:spLocks noGrp="1"/>
          </p:cNvSpPr>
          <p:nvPr>
            <p:ph sz="quarter" idx="21"/>
          </p:nvPr>
        </p:nvSpPr>
        <p:spPr/>
        <p:txBody>
          <a:bodyPr/>
          <a:lstStyle/>
          <a:p>
            <a:r>
              <a:rPr lang="de-CH" dirty="0"/>
              <a:t>Unterteilung des Gesamtprojektes in mehrere Untersysteme (Subsysteme)</a:t>
            </a:r>
          </a:p>
          <a:p>
            <a:r>
              <a:rPr lang="de-CH" dirty="0"/>
              <a:t>Bestimmung der Anforderungen (linker Seite) und Tests (rechte Seite)</a:t>
            </a:r>
          </a:p>
          <a:p>
            <a:r>
              <a:rPr lang="de-CH" dirty="0"/>
              <a:t>Entwicklung von den einzelnen Subsystemen (z.B. Baugruppen) oder Bauteilen (Elemente) einzeln</a:t>
            </a:r>
          </a:p>
          <a:p>
            <a:endParaRPr lang="de-CH" dirty="0"/>
          </a:p>
        </p:txBody>
      </p:sp>
      <p:sp>
        <p:nvSpPr>
          <p:cNvPr id="7" name="Textplatzhalter 6">
            <a:extLst>
              <a:ext uri="{FF2B5EF4-FFF2-40B4-BE49-F238E27FC236}">
                <a16:creationId xmlns:a16="http://schemas.microsoft.com/office/drawing/2014/main" id="{2A12D354-9706-1AD3-AD70-8CA0A9E50E0D}"/>
              </a:ext>
            </a:extLst>
          </p:cNvPr>
          <p:cNvSpPr>
            <a:spLocks noGrp="1"/>
          </p:cNvSpPr>
          <p:nvPr>
            <p:ph type="body" sz="quarter" idx="24"/>
          </p:nvPr>
        </p:nvSpPr>
        <p:spPr/>
        <p:txBody>
          <a:bodyPr>
            <a:normAutofit fontScale="92500" lnSpcReduction="20000"/>
          </a:bodyPr>
          <a:lstStyle/>
          <a:p>
            <a:endParaRPr lang="de-CH"/>
          </a:p>
        </p:txBody>
      </p:sp>
      <p:pic>
        <p:nvPicPr>
          <p:cNvPr id="9" name="Content Placeholder 12">
            <a:extLst>
              <a:ext uri="{FF2B5EF4-FFF2-40B4-BE49-F238E27FC236}">
                <a16:creationId xmlns:a16="http://schemas.microsoft.com/office/drawing/2014/main" id="{152941CE-E6FE-143B-75BD-E1E3EAE31C01}"/>
              </a:ext>
            </a:extLst>
          </p:cNvPr>
          <p:cNvPicPr>
            <a:picLocks noChangeAspect="1"/>
          </p:cNvPicPr>
          <p:nvPr/>
        </p:nvPicPr>
        <p:blipFill>
          <a:blip r:embed="rId5"/>
          <a:stretch>
            <a:fillRect/>
          </a:stretch>
        </p:blipFill>
        <p:spPr>
          <a:xfrm>
            <a:off x="2235782" y="2966119"/>
            <a:ext cx="8517363" cy="3486239"/>
          </a:xfrm>
          <a:prstGeom prst="rect">
            <a:avLst/>
          </a:prstGeom>
        </p:spPr>
      </p:pic>
    </p:spTree>
    <p:extLst>
      <p:ext uri="{BB962C8B-B14F-4D97-AF65-F5344CB8AC3E}">
        <p14:creationId xmlns:p14="http://schemas.microsoft.com/office/powerpoint/2010/main" val="38178202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F9E0672-082A-F695-ED15-71FE4BE854E3}"/>
              </a:ext>
            </a:extLst>
          </p:cNvPr>
          <p:cNvGraphicFramePr>
            <a:graphicFrameLocks noChangeAspect="1"/>
          </p:cNvGraphicFramePr>
          <p:nvPr>
            <p:custDataLst>
              <p:tags r:id="rId1"/>
            </p:custDataLst>
            <p:extLst>
              <p:ext uri="{D42A27DB-BD31-4B8C-83A1-F6EECF244321}">
                <p14:modId xmlns:p14="http://schemas.microsoft.com/office/powerpoint/2010/main" val="2063858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9" name="think-cell data - do not delete" hidden="1">
                        <a:extLst>
                          <a:ext uri="{FF2B5EF4-FFF2-40B4-BE49-F238E27FC236}">
                            <a16:creationId xmlns:a16="http://schemas.microsoft.com/office/drawing/2014/main" id="{EF9E0672-082A-F695-ED15-71FE4BE854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6F90DF9B-6797-266D-FB59-8C6355075AFB}"/>
              </a:ext>
            </a:extLst>
          </p:cNvPr>
          <p:cNvSpPr>
            <a:spLocks noGrp="1"/>
          </p:cNvSpPr>
          <p:nvPr>
            <p:ph type="dt" sz="half" idx="16"/>
          </p:nvPr>
        </p:nvSpPr>
        <p:spPr/>
        <p:txBody>
          <a:bodyPr/>
          <a:lstStyle/>
          <a:p>
            <a:fld id="{B17BE043-95A9-4F6E-A032-713412F208E8}" type="datetime4">
              <a:rPr lang="de-CH" smtClean="0"/>
              <a:t>26. September 2023</a:t>
            </a:fld>
            <a:endParaRPr lang="de-CH" dirty="0"/>
          </a:p>
        </p:txBody>
      </p:sp>
      <p:sp>
        <p:nvSpPr>
          <p:cNvPr id="3" name="Fußzeilenplatzhalter 2">
            <a:extLst>
              <a:ext uri="{FF2B5EF4-FFF2-40B4-BE49-F238E27FC236}">
                <a16:creationId xmlns:a16="http://schemas.microsoft.com/office/drawing/2014/main" id="{22AE1ABE-3AB5-DEAF-3E79-8485384D34BB}"/>
              </a:ext>
            </a:extLst>
          </p:cNvPr>
          <p:cNvSpPr>
            <a:spLocks noGrp="1"/>
          </p:cNvSpPr>
          <p:nvPr>
            <p:ph type="ftr" sz="quarter" idx="17"/>
          </p:nvPr>
        </p:nvSpPr>
        <p:spPr/>
        <p:txBody>
          <a:bodyPr/>
          <a:lstStyle/>
          <a:p>
            <a:r>
              <a:rPr lang="de-CH" dirty="0"/>
              <a:t>Wissensnugget - Qualität</a:t>
            </a:r>
          </a:p>
        </p:txBody>
      </p:sp>
      <p:sp>
        <p:nvSpPr>
          <p:cNvPr id="4" name="Foliennummernplatzhalter 3">
            <a:extLst>
              <a:ext uri="{FF2B5EF4-FFF2-40B4-BE49-F238E27FC236}">
                <a16:creationId xmlns:a16="http://schemas.microsoft.com/office/drawing/2014/main" id="{2993FB47-BD7E-CBF0-79ED-EAEDA335AA44}"/>
              </a:ext>
            </a:extLst>
          </p:cNvPr>
          <p:cNvSpPr>
            <a:spLocks noGrp="1"/>
          </p:cNvSpPr>
          <p:nvPr>
            <p:ph type="sldNum" sz="quarter" idx="18"/>
          </p:nvPr>
        </p:nvSpPr>
        <p:spPr/>
        <p:txBody>
          <a:bodyPr/>
          <a:lstStyle/>
          <a:p>
            <a:fld id="{4EAC321B-7500-4259-A00F-915439A35E15}" type="slidenum">
              <a:rPr lang="de-CH" smtClean="0"/>
              <a:pPr/>
              <a:t>3</a:t>
            </a:fld>
            <a:endParaRPr lang="de-CH" dirty="0"/>
          </a:p>
        </p:txBody>
      </p:sp>
      <p:sp>
        <p:nvSpPr>
          <p:cNvPr id="5" name="Titel 4">
            <a:extLst>
              <a:ext uri="{FF2B5EF4-FFF2-40B4-BE49-F238E27FC236}">
                <a16:creationId xmlns:a16="http://schemas.microsoft.com/office/drawing/2014/main" id="{3DCF634E-3A0A-522E-4439-B09001E3C64F}"/>
              </a:ext>
            </a:extLst>
          </p:cNvPr>
          <p:cNvSpPr>
            <a:spLocks noGrp="1"/>
          </p:cNvSpPr>
          <p:nvPr>
            <p:ph type="title"/>
          </p:nvPr>
        </p:nvSpPr>
        <p:spPr>
          <a:xfrm>
            <a:off x="792899" y="692150"/>
            <a:ext cx="11053763" cy="684213"/>
          </a:xfrm>
        </p:spPr>
        <p:txBody>
          <a:bodyPr vert="horz"/>
          <a:lstStyle/>
          <a:p>
            <a:r>
              <a:rPr lang="de-CH" dirty="0"/>
              <a:t>User-</a:t>
            </a:r>
            <a:r>
              <a:rPr lang="de-CH" dirty="0" err="1"/>
              <a:t>Centered</a:t>
            </a:r>
            <a:r>
              <a:rPr lang="de-CH" dirty="0"/>
              <a:t> Designzyklus</a:t>
            </a:r>
          </a:p>
        </p:txBody>
      </p:sp>
      <p:sp>
        <p:nvSpPr>
          <p:cNvPr id="7" name="Textplatzhalter 6">
            <a:extLst>
              <a:ext uri="{FF2B5EF4-FFF2-40B4-BE49-F238E27FC236}">
                <a16:creationId xmlns:a16="http://schemas.microsoft.com/office/drawing/2014/main" id="{06B774B5-E968-4484-6929-D54CDB431303}"/>
              </a:ext>
            </a:extLst>
          </p:cNvPr>
          <p:cNvSpPr>
            <a:spLocks noGrp="1"/>
          </p:cNvSpPr>
          <p:nvPr>
            <p:ph type="body" sz="quarter" idx="24"/>
          </p:nvPr>
        </p:nvSpPr>
        <p:spPr/>
        <p:txBody>
          <a:bodyPr>
            <a:normAutofit fontScale="92500" lnSpcReduction="20000"/>
          </a:bodyPr>
          <a:lstStyle/>
          <a:p>
            <a:endParaRPr lang="de-CH"/>
          </a:p>
        </p:txBody>
      </p:sp>
      <p:pic>
        <p:nvPicPr>
          <p:cNvPr id="10" name="Picture 2" descr="Human centered design nach DIN ISO 9241: rocket-media">
            <a:extLst>
              <a:ext uri="{FF2B5EF4-FFF2-40B4-BE49-F238E27FC236}">
                <a16:creationId xmlns:a16="http://schemas.microsoft.com/office/drawing/2014/main" id="{9E14122A-7E5A-BBD9-694E-D76B1C6C813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6450" y="1461546"/>
            <a:ext cx="7088776" cy="498105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Human centered design nach DIN ISO 9241: rocket-media">
            <a:extLst>
              <a:ext uri="{FF2B5EF4-FFF2-40B4-BE49-F238E27FC236}">
                <a16:creationId xmlns:a16="http://schemas.microsoft.com/office/drawing/2014/main" id="{50F12806-8E0F-44A9-FC9A-B7B17C35853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62887" r="75606" b="1258"/>
          <a:stretch/>
        </p:blipFill>
        <p:spPr bwMode="auto">
          <a:xfrm>
            <a:off x="8869084" y="2906542"/>
            <a:ext cx="2004060" cy="2069833"/>
          </a:xfrm>
          <a:prstGeom prst="rect">
            <a:avLst/>
          </a:prstGeom>
          <a:noFill/>
          <a:extLst>
            <a:ext uri="{909E8E84-426E-40DD-AFC4-6F175D3DCCD1}">
              <a14:hiddenFill xmlns:a14="http://schemas.microsoft.com/office/drawing/2010/main">
                <a:solidFill>
                  <a:srgbClr val="FFFFFF"/>
                </a:solidFill>
              </a14:hiddenFill>
            </a:ext>
          </a:extLst>
        </p:spPr>
      </p:pic>
      <p:sp>
        <p:nvSpPr>
          <p:cNvPr id="12" name="Rechteck 11">
            <a:extLst>
              <a:ext uri="{FF2B5EF4-FFF2-40B4-BE49-F238E27FC236}">
                <a16:creationId xmlns:a16="http://schemas.microsoft.com/office/drawing/2014/main" id="{D526BB43-A032-B82D-1848-2F37DD62FC34}"/>
              </a:ext>
            </a:extLst>
          </p:cNvPr>
          <p:cNvSpPr/>
          <p:nvPr/>
        </p:nvSpPr>
        <p:spPr>
          <a:xfrm>
            <a:off x="494087" y="3941459"/>
            <a:ext cx="2065087" cy="2501139"/>
          </a:xfrm>
          <a:prstGeom prst="rect">
            <a:avLst/>
          </a:prstGeom>
          <a:solidFill>
            <a:schemeClr val="bg1"/>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algn="ctr">
              <a:lnSpc>
                <a:spcPct val="110000"/>
              </a:lnSpc>
              <a:spcAft>
                <a:spcPts val="600"/>
              </a:spcAft>
            </a:pPr>
            <a:endParaRPr lang="de-CH" dirty="0"/>
          </a:p>
        </p:txBody>
      </p:sp>
      <p:sp>
        <p:nvSpPr>
          <p:cNvPr id="17" name="Rechteck 16">
            <a:extLst>
              <a:ext uri="{FF2B5EF4-FFF2-40B4-BE49-F238E27FC236}">
                <a16:creationId xmlns:a16="http://schemas.microsoft.com/office/drawing/2014/main" id="{F44BF900-59D8-A413-600E-21EA81DC1EF2}"/>
              </a:ext>
            </a:extLst>
          </p:cNvPr>
          <p:cNvSpPr/>
          <p:nvPr/>
        </p:nvSpPr>
        <p:spPr>
          <a:xfrm>
            <a:off x="750706" y="1987966"/>
            <a:ext cx="1482276" cy="777708"/>
          </a:xfrm>
          <a:prstGeom prst="rect">
            <a:avLst/>
          </a:prstGeom>
          <a:solidFill>
            <a:schemeClr val="bg1"/>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p>
            <a:pPr algn="ctr">
              <a:lnSpc>
                <a:spcPct val="110000"/>
              </a:lnSpc>
              <a:spcAft>
                <a:spcPts val="600"/>
              </a:spcAft>
            </a:pPr>
            <a:endParaRPr lang="de-CH" dirty="0"/>
          </a:p>
        </p:txBody>
      </p:sp>
      <p:sp>
        <p:nvSpPr>
          <p:cNvPr id="18" name="Rechteck 17">
            <a:extLst>
              <a:ext uri="{FF2B5EF4-FFF2-40B4-BE49-F238E27FC236}">
                <a16:creationId xmlns:a16="http://schemas.microsoft.com/office/drawing/2014/main" id="{B91EC888-9157-AC1E-6E5E-E9D2705B5EDF}"/>
              </a:ext>
            </a:extLst>
          </p:cNvPr>
          <p:cNvSpPr/>
          <p:nvPr/>
        </p:nvSpPr>
        <p:spPr>
          <a:xfrm>
            <a:off x="1076898" y="1719119"/>
            <a:ext cx="1482276" cy="439838"/>
          </a:xfrm>
          <a:prstGeom prst="rect">
            <a:avLst/>
          </a:prstGeom>
          <a:solidFill>
            <a:schemeClr val="bg1"/>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lnSpcReduction="10000"/>
          </a:bodyPr>
          <a:lstStyle/>
          <a:p>
            <a:pPr algn="ctr">
              <a:lnSpc>
                <a:spcPct val="110000"/>
              </a:lnSpc>
              <a:spcAft>
                <a:spcPts val="600"/>
              </a:spcAft>
            </a:pPr>
            <a:endParaRPr lang="de-CH" dirty="0"/>
          </a:p>
        </p:txBody>
      </p:sp>
      <p:sp>
        <p:nvSpPr>
          <p:cNvPr id="24" name="Rechteck 23">
            <a:extLst>
              <a:ext uri="{FF2B5EF4-FFF2-40B4-BE49-F238E27FC236}">
                <a16:creationId xmlns:a16="http://schemas.microsoft.com/office/drawing/2014/main" id="{A0980AC5-4F75-27B1-E276-5F70A905BC6E}"/>
              </a:ext>
            </a:extLst>
          </p:cNvPr>
          <p:cNvSpPr/>
          <p:nvPr/>
        </p:nvSpPr>
        <p:spPr>
          <a:xfrm>
            <a:off x="4813064" y="2325836"/>
            <a:ext cx="1561621" cy="372193"/>
          </a:xfrm>
          <a:prstGeom prst="rect">
            <a:avLst/>
          </a:prstGeom>
          <a:solidFill>
            <a:schemeClr val="bg1"/>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fontScale="85000" lnSpcReduction="20000"/>
          </a:bodyPr>
          <a:lstStyle/>
          <a:p>
            <a:pPr algn="ctr">
              <a:lnSpc>
                <a:spcPct val="110000"/>
              </a:lnSpc>
              <a:spcAft>
                <a:spcPts val="600"/>
              </a:spcAft>
            </a:pPr>
            <a:endParaRPr lang="de-CH" dirty="0"/>
          </a:p>
        </p:txBody>
      </p:sp>
      <p:sp>
        <p:nvSpPr>
          <p:cNvPr id="25" name="Rechteck 24">
            <a:extLst>
              <a:ext uri="{FF2B5EF4-FFF2-40B4-BE49-F238E27FC236}">
                <a16:creationId xmlns:a16="http://schemas.microsoft.com/office/drawing/2014/main" id="{66820FC8-8E0A-0724-C309-1E906E87F190}"/>
              </a:ext>
            </a:extLst>
          </p:cNvPr>
          <p:cNvSpPr/>
          <p:nvPr/>
        </p:nvSpPr>
        <p:spPr>
          <a:xfrm>
            <a:off x="6069669" y="4142444"/>
            <a:ext cx="1561621" cy="372193"/>
          </a:xfrm>
          <a:prstGeom prst="rect">
            <a:avLst/>
          </a:prstGeom>
          <a:solidFill>
            <a:schemeClr val="bg1"/>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fontScale="85000" lnSpcReduction="20000"/>
          </a:bodyPr>
          <a:lstStyle/>
          <a:p>
            <a:pPr algn="ctr">
              <a:lnSpc>
                <a:spcPct val="110000"/>
              </a:lnSpc>
              <a:spcAft>
                <a:spcPts val="600"/>
              </a:spcAft>
            </a:pPr>
            <a:endParaRPr lang="de-CH" dirty="0"/>
          </a:p>
        </p:txBody>
      </p:sp>
      <p:sp>
        <p:nvSpPr>
          <p:cNvPr id="29" name="Rechteck 28">
            <a:extLst>
              <a:ext uri="{FF2B5EF4-FFF2-40B4-BE49-F238E27FC236}">
                <a16:creationId xmlns:a16="http://schemas.microsoft.com/office/drawing/2014/main" id="{5C591719-BE9A-E486-2118-5B0C5FBB37C3}"/>
              </a:ext>
            </a:extLst>
          </p:cNvPr>
          <p:cNvSpPr/>
          <p:nvPr/>
        </p:nvSpPr>
        <p:spPr>
          <a:xfrm>
            <a:off x="3498677" y="4108747"/>
            <a:ext cx="1561621" cy="372193"/>
          </a:xfrm>
          <a:prstGeom prst="rect">
            <a:avLst/>
          </a:prstGeom>
          <a:solidFill>
            <a:schemeClr val="bg1"/>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fontScale="85000" lnSpcReduction="20000"/>
          </a:bodyPr>
          <a:lstStyle/>
          <a:p>
            <a:pPr algn="ctr">
              <a:lnSpc>
                <a:spcPct val="110000"/>
              </a:lnSpc>
              <a:spcAft>
                <a:spcPts val="600"/>
              </a:spcAft>
            </a:pPr>
            <a:endParaRPr lang="de-CH" dirty="0"/>
          </a:p>
        </p:txBody>
      </p:sp>
      <p:sp>
        <p:nvSpPr>
          <p:cNvPr id="30" name="Rechteck 29">
            <a:extLst>
              <a:ext uri="{FF2B5EF4-FFF2-40B4-BE49-F238E27FC236}">
                <a16:creationId xmlns:a16="http://schemas.microsoft.com/office/drawing/2014/main" id="{A6F379EE-3FE4-9FD9-7622-ABB1D4BE556B}"/>
              </a:ext>
            </a:extLst>
          </p:cNvPr>
          <p:cNvSpPr/>
          <p:nvPr/>
        </p:nvSpPr>
        <p:spPr>
          <a:xfrm>
            <a:off x="4872523" y="5852118"/>
            <a:ext cx="1364845" cy="372193"/>
          </a:xfrm>
          <a:prstGeom prst="rect">
            <a:avLst/>
          </a:prstGeom>
          <a:solidFill>
            <a:schemeClr val="bg1"/>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fontScale="85000" lnSpcReduction="20000"/>
          </a:bodyPr>
          <a:lstStyle/>
          <a:p>
            <a:pPr algn="ctr">
              <a:lnSpc>
                <a:spcPct val="110000"/>
              </a:lnSpc>
              <a:spcAft>
                <a:spcPts val="600"/>
              </a:spcAft>
            </a:pPr>
            <a:endParaRPr lang="de-CH" dirty="0"/>
          </a:p>
        </p:txBody>
      </p:sp>
      <p:sp>
        <p:nvSpPr>
          <p:cNvPr id="14" name="Textfeld 13">
            <a:extLst>
              <a:ext uri="{FF2B5EF4-FFF2-40B4-BE49-F238E27FC236}">
                <a16:creationId xmlns:a16="http://schemas.microsoft.com/office/drawing/2014/main" id="{6197DAB5-DED0-50AE-495F-4CFAD3F7F77C}"/>
              </a:ext>
            </a:extLst>
          </p:cNvPr>
          <p:cNvSpPr txBox="1"/>
          <p:nvPr/>
        </p:nvSpPr>
        <p:spPr>
          <a:xfrm>
            <a:off x="1491844" y="1576039"/>
            <a:ext cx="2004060" cy="293721"/>
          </a:xfrm>
          <a:prstGeom prst="rect">
            <a:avLst/>
          </a:prstGeom>
          <a:noFill/>
          <a:ln w="28575">
            <a:noFill/>
            <a:miter lim="800000"/>
          </a:ln>
        </p:spPr>
        <p:txBody>
          <a:bodyPr wrap="square" lIns="108000" tIns="36000" rIns="108000" bIns="72000" rtlCol="0">
            <a:spAutoFit/>
          </a:bodyPr>
          <a:lstStyle/>
          <a:p>
            <a:pPr>
              <a:spcAft>
                <a:spcPts val="600"/>
              </a:spcAft>
              <a:buClr>
                <a:schemeClr val="tx2"/>
              </a:buClr>
            </a:pPr>
            <a:r>
              <a:rPr lang="de-CH" sz="1200" b="1" dirty="0">
                <a:solidFill>
                  <a:srgbClr val="054275"/>
                </a:solidFill>
                <a:ea typeface="Roboto Medium" panose="02000000000000000000" pitchFamily="2" charset="0"/>
              </a:rPr>
              <a:t>Problem / Idee</a:t>
            </a:r>
          </a:p>
        </p:txBody>
      </p:sp>
      <p:sp>
        <p:nvSpPr>
          <p:cNvPr id="16" name="Textfeld 15">
            <a:extLst>
              <a:ext uri="{FF2B5EF4-FFF2-40B4-BE49-F238E27FC236}">
                <a16:creationId xmlns:a16="http://schemas.microsoft.com/office/drawing/2014/main" id="{5425607F-148C-ED92-BB63-E7F100AE45C4}"/>
              </a:ext>
            </a:extLst>
          </p:cNvPr>
          <p:cNvSpPr txBox="1"/>
          <p:nvPr/>
        </p:nvSpPr>
        <p:spPr>
          <a:xfrm>
            <a:off x="4552173" y="2278230"/>
            <a:ext cx="2004060" cy="478387"/>
          </a:xfrm>
          <a:prstGeom prst="rect">
            <a:avLst/>
          </a:prstGeom>
          <a:noFill/>
          <a:ln w="28575">
            <a:noFill/>
            <a:miter lim="800000"/>
          </a:ln>
        </p:spPr>
        <p:txBody>
          <a:bodyPr wrap="square" lIns="108000" tIns="36000" rIns="108000" bIns="72000" rtlCol="0">
            <a:spAutoFit/>
          </a:bodyPr>
          <a:lstStyle/>
          <a:p>
            <a:pPr algn="ctr">
              <a:spcAft>
                <a:spcPts val="600"/>
              </a:spcAft>
              <a:buClr>
                <a:schemeClr val="tx2"/>
              </a:buClr>
            </a:pPr>
            <a:r>
              <a:rPr lang="de-CH" sz="1200" b="1" dirty="0">
                <a:solidFill>
                  <a:srgbClr val="054275"/>
                </a:solidFill>
                <a:ea typeface="Roboto Medium" panose="02000000000000000000" pitchFamily="2" charset="0"/>
              </a:rPr>
              <a:t>User-Bedürfnisse</a:t>
            </a:r>
            <a:br>
              <a:rPr lang="de-CH" sz="1200" b="1" dirty="0">
                <a:solidFill>
                  <a:srgbClr val="054275"/>
                </a:solidFill>
                <a:ea typeface="Roboto Medium" panose="02000000000000000000" pitchFamily="2" charset="0"/>
              </a:rPr>
            </a:br>
            <a:r>
              <a:rPr lang="de-CH" sz="1200" b="1" dirty="0">
                <a:solidFill>
                  <a:srgbClr val="054275"/>
                </a:solidFill>
                <a:ea typeface="Roboto Medium" panose="02000000000000000000" pitchFamily="2" charset="0"/>
              </a:rPr>
              <a:t>verstehen</a:t>
            </a:r>
          </a:p>
        </p:txBody>
      </p:sp>
      <p:sp>
        <p:nvSpPr>
          <p:cNvPr id="19" name="Textfeld 18">
            <a:extLst>
              <a:ext uri="{FF2B5EF4-FFF2-40B4-BE49-F238E27FC236}">
                <a16:creationId xmlns:a16="http://schemas.microsoft.com/office/drawing/2014/main" id="{B53B5E0E-E278-54CD-9748-C1FCC75A33A3}"/>
              </a:ext>
            </a:extLst>
          </p:cNvPr>
          <p:cNvSpPr txBox="1"/>
          <p:nvPr/>
        </p:nvSpPr>
        <p:spPr>
          <a:xfrm>
            <a:off x="6203529" y="4108747"/>
            <a:ext cx="2004060" cy="478387"/>
          </a:xfrm>
          <a:prstGeom prst="rect">
            <a:avLst/>
          </a:prstGeom>
          <a:noFill/>
          <a:ln w="28575">
            <a:noFill/>
            <a:miter lim="800000"/>
          </a:ln>
        </p:spPr>
        <p:txBody>
          <a:bodyPr wrap="square" lIns="108000" tIns="36000" rIns="108000" bIns="72000" rtlCol="0">
            <a:spAutoFit/>
          </a:bodyPr>
          <a:lstStyle/>
          <a:p>
            <a:pPr>
              <a:spcAft>
                <a:spcPts val="600"/>
              </a:spcAft>
              <a:buClr>
                <a:schemeClr val="tx2"/>
              </a:buClr>
            </a:pPr>
            <a:r>
              <a:rPr lang="de-CH" sz="1200" b="1" dirty="0">
                <a:solidFill>
                  <a:srgbClr val="054275"/>
                </a:solidFill>
                <a:ea typeface="Roboto Medium" panose="02000000000000000000" pitchFamily="2" charset="0"/>
              </a:rPr>
              <a:t>Anforderungen</a:t>
            </a:r>
            <a:br>
              <a:rPr lang="de-CH" sz="1200" b="1" dirty="0">
                <a:solidFill>
                  <a:srgbClr val="054275"/>
                </a:solidFill>
                <a:ea typeface="Roboto Medium" panose="02000000000000000000" pitchFamily="2" charset="0"/>
              </a:rPr>
            </a:br>
            <a:r>
              <a:rPr lang="de-CH" sz="1200" b="1" dirty="0">
                <a:solidFill>
                  <a:srgbClr val="054275"/>
                </a:solidFill>
                <a:ea typeface="Roboto Medium" panose="02000000000000000000" pitchFamily="2" charset="0"/>
              </a:rPr>
              <a:t>spezifizieren</a:t>
            </a:r>
          </a:p>
        </p:txBody>
      </p:sp>
      <p:sp>
        <p:nvSpPr>
          <p:cNvPr id="20" name="Textfeld 19">
            <a:extLst>
              <a:ext uri="{FF2B5EF4-FFF2-40B4-BE49-F238E27FC236}">
                <a16:creationId xmlns:a16="http://schemas.microsoft.com/office/drawing/2014/main" id="{98E2B6D1-851B-BFFB-F44E-0D8C51EBB3EB}"/>
              </a:ext>
            </a:extLst>
          </p:cNvPr>
          <p:cNvSpPr txBox="1"/>
          <p:nvPr/>
        </p:nvSpPr>
        <p:spPr>
          <a:xfrm>
            <a:off x="4527929" y="5796529"/>
            <a:ext cx="2065087" cy="478387"/>
          </a:xfrm>
          <a:prstGeom prst="rect">
            <a:avLst/>
          </a:prstGeom>
          <a:noFill/>
          <a:ln w="28575">
            <a:noFill/>
            <a:miter lim="800000"/>
          </a:ln>
        </p:spPr>
        <p:txBody>
          <a:bodyPr wrap="square" lIns="108000" tIns="36000" rIns="108000" bIns="72000" rtlCol="0">
            <a:spAutoFit/>
          </a:bodyPr>
          <a:lstStyle/>
          <a:p>
            <a:pPr algn="ctr">
              <a:spcAft>
                <a:spcPts val="600"/>
              </a:spcAft>
              <a:buClr>
                <a:schemeClr val="tx2"/>
              </a:buClr>
            </a:pPr>
            <a:r>
              <a:rPr lang="de-CH" sz="1200" b="1" dirty="0">
                <a:solidFill>
                  <a:srgbClr val="054275"/>
                </a:solidFill>
                <a:ea typeface="Roboto Medium" panose="02000000000000000000" pitchFamily="2" charset="0"/>
              </a:rPr>
              <a:t>Design-Prototyp</a:t>
            </a:r>
            <a:br>
              <a:rPr lang="de-CH" sz="1200" b="1" dirty="0">
                <a:solidFill>
                  <a:srgbClr val="054275"/>
                </a:solidFill>
                <a:ea typeface="Roboto Medium" panose="02000000000000000000" pitchFamily="2" charset="0"/>
              </a:rPr>
            </a:br>
            <a:r>
              <a:rPr lang="de-CH" sz="1200" b="1" dirty="0">
                <a:solidFill>
                  <a:srgbClr val="054275"/>
                </a:solidFill>
                <a:ea typeface="Roboto Medium" panose="02000000000000000000" pitchFamily="2" charset="0"/>
              </a:rPr>
              <a:t>erstellen</a:t>
            </a:r>
          </a:p>
        </p:txBody>
      </p:sp>
      <p:sp>
        <p:nvSpPr>
          <p:cNvPr id="22" name="Textfeld 21">
            <a:extLst>
              <a:ext uri="{FF2B5EF4-FFF2-40B4-BE49-F238E27FC236}">
                <a16:creationId xmlns:a16="http://schemas.microsoft.com/office/drawing/2014/main" id="{53D79028-94BE-8E68-181C-DDE367D01970}"/>
              </a:ext>
            </a:extLst>
          </p:cNvPr>
          <p:cNvSpPr txBox="1"/>
          <p:nvPr/>
        </p:nvSpPr>
        <p:spPr>
          <a:xfrm>
            <a:off x="3273946" y="4004437"/>
            <a:ext cx="2004060" cy="663053"/>
          </a:xfrm>
          <a:prstGeom prst="rect">
            <a:avLst/>
          </a:prstGeom>
          <a:noFill/>
          <a:ln w="28575">
            <a:noFill/>
            <a:miter lim="800000"/>
          </a:ln>
        </p:spPr>
        <p:txBody>
          <a:bodyPr wrap="square" lIns="108000" tIns="36000" rIns="108000" bIns="72000" rtlCol="0">
            <a:spAutoFit/>
          </a:bodyPr>
          <a:lstStyle/>
          <a:p>
            <a:pPr algn="ctr">
              <a:spcAft>
                <a:spcPts val="600"/>
              </a:spcAft>
              <a:buClr>
                <a:schemeClr val="tx2"/>
              </a:buClr>
            </a:pPr>
            <a:r>
              <a:rPr lang="de-CH" sz="1200" b="1" dirty="0">
                <a:solidFill>
                  <a:srgbClr val="054275"/>
                </a:solidFill>
                <a:ea typeface="Roboto Medium" panose="02000000000000000000" pitchFamily="2" charset="0"/>
              </a:rPr>
              <a:t>Testen &amp; Bewerten</a:t>
            </a:r>
            <a:br>
              <a:rPr lang="de-CH" sz="1200" b="1" dirty="0">
                <a:solidFill>
                  <a:srgbClr val="054275"/>
                </a:solidFill>
                <a:ea typeface="Roboto Medium" panose="02000000000000000000" pitchFamily="2" charset="0"/>
              </a:rPr>
            </a:br>
            <a:r>
              <a:rPr lang="de-CH" sz="1200" b="1" dirty="0">
                <a:solidFill>
                  <a:srgbClr val="054275"/>
                </a:solidFill>
                <a:ea typeface="Roboto Medium" panose="02000000000000000000" pitchFamily="2" charset="0"/>
              </a:rPr>
              <a:t>gegen</a:t>
            </a:r>
            <a:br>
              <a:rPr lang="de-CH" sz="1200" b="1" dirty="0">
                <a:solidFill>
                  <a:srgbClr val="054275"/>
                </a:solidFill>
                <a:ea typeface="Roboto Medium" panose="02000000000000000000" pitchFamily="2" charset="0"/>
              </a:rPr>
            </a:br>
            <a:r>
              <a:rPr lang="de-CH" sz="1200" b="1" dirty="0">
                <a:solidFill>
                  <a:srgbClr val="054275"/>
                </a:solidFill>
                <a:ea typeface="Roboto Medium" panose="02000000000000000000" pitchFamily="2" charset="0"/>
              </a:rPr>
              <a:t>Anforderungen</a:t>
            </a:r>
          </a:p>
        </p:txBody>
      </p:sp>
      <p:sp>
        <p:nvSpPr>
          <p:cNvPr id="28" name="Textfeld 27">
            <a:extLst>
              <a:ext uri="{FF2B5EF4-FFF2-40B4-BE49-F238E27FC236}">
                <a16:creationId xmlns:a16="http://schemas.microsoft.com/office/drawing/2014/main" id="{E8F53415-2E2C-7372-92C0-B3EE5D457461}"/>
              </a:ext>
            </a:extLst>
          </p:cNvPr>
          <p:cNvSpPr txBox="1"/>
          <p:nvPr/>
        </p:nvSpPr>
        <p:spPr>
          <a:xfrm>
            <a:off x="3273946" y="2851938"/>
            <a:ext cx="2004060" cy="293721"/>
          </a:xfrm>
          <a:prstGeom prst="rect">
            <a:avLst/>
          </a:prstGeom>
          <a:noFill/>
          <a:ln w="28575">
            <a:noFill/>
            <a:miter lim="800000"/>
          </a:ln>
        </p:spPr>
        <p:txBody>
          <a:bodyPr wrap="square" lIns="108000" tIns="36000" rIns="108000" bIns="72000" rtlCol="0">
            <a:spAutoFit/>
          </a:bodyPr>
          <a:lstStyle/>
          <a:p>
            <a:pPr>
              <a:spcAft>
                <a:spcPts val="600"/>
              </a:spcAft>
              <a:buClr>
                <a:schemeClr val="tx2"/>
              </a:buClr>
            </a:pPr>
            <a:r>
              <a:rPr lang="de-CH" sz="1200" b="1" dirty="0">
                <a:solidFill>
                  <a:srgbClr val="054275"/>
                </a:solidFill>
                <a:ea typeface="Roboto Medium" panose="02000000000000000000" pitchFamily="2" charset="0"/>
              </a:rPr>
              <a:t>Iteration</a:t>
            </a:r>
          </a:p>
        </p:txBody>
      </p:sp>
      <p:sp>
        <p:nvSpPr>
          <p:cNvPr id="23" name="Textfeld 22">
            <a:extLst>
              <a:ext uri="{FF2B5EF4-FFF2-40B4-BE49-F238E27FC236}">
                <a16:creationId xmlns:a16="http://schemas.microsoft.com/office/drawing/2014/main" id="{2279DB0B-929F-C939-BC76-EC8C8E600B8C}"/>
              </a:ext>
            </a:extLst>
          </p:cNvPr>
          <p:cNvSpPr txBox="1"/>
          <p:nvPr/>
        </p:nvSpPr>
        <p:spPr>
          <a:xfrm>
            <a:off x="1195134" y="2302037"/>
            <a:ext cx="2004060" cy="293721"/>
          </a:xfrm>
          <a:prstGeom prst="rect">
            <a:avLst/>
          </a:prstGeom>
          <a:noFill/>
          <a:ln w="28575">
            <a:noFill/>
            <a:miter lim="800000"/>
          </a:ln>
        </p:spPr>
        <p:txBody>
          <a:bodyPr wrap="square" lIns="108000" tIns="36000" rIns="108000" bIns="72000" rtlCol="0">
            <a:spAutoFit/>
          </a:bodyPr>
          <a:lstStyle/>
          <a:p>
            <a:pPr>
              <a:spcAft>
                <a:spcPts val="600"/>
              </a:spcAft>
              <a:buClr>
                <a:schemeClr val="tx2"/>
              </a:buClr>
            </a:pPr>
            <a:r>
              <a:rPr lang="de-CH" sz="1200" b="1" dirty="0">
                <a:solidFill>
                  <a:srgbClr val="054275"/>
                </a:solidFill>
                <a:ea typeface="Roboto Medium" panose="02000000000000000000" pitchFamily="2" charset="0"/>
              </a:rPr>
              <a:t>Umsetzung</a:t>
            </a:r>
          </a:p>
        </p:txBody>
      </p:sp>
    </p:spTree>
    <p:extLst>
      <p:ext uri="{BB962C8B-B14F-4D97-AF65-F5344CB8AC3E}">
        <p14:creationId xmlns:p14="http://schemas.microsoft.com/office/powerpoint/2010/main" val="6241754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2065591-529B-5BAB-5FDA-FF4D56C551F0}"/>
              </a:ext>
            </a:extLst>
          </p:cNvPr>
          <p:cNvGraphicFramePr>
            <a:graphicFrameLocks noChangeAspect="1"/>
          </p:cNvGraphicFramePr>
          <p:nvPr>
            <p:custDataLst>
              <p:tags r:id="rId1"/>
            </p:custDataLst>
            <p:extLst>
              <p:ext uri="{D42A27DB-BD31-4B8C-83A1-F6EECF244321}">
                <p14:modId xmlns:p14="http://schemas.microsoft.com/office/powerpoint/2010/main" val="1631980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9" name="think-cell data - do not delete" hidden="1">
                        <a:extLst>
                          <a:ext uri="{FF2B5EF4-FFF2-40B4-BE49-F238E27FC236}">
                            <a16:creationId xmlns:a16="http://schemas.microsoft.com/office/drawing/2014/main" id="{F2065591-529B-5BAB-5FDA-FF4D56C551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0ABA413F-B012-4DD4-2785-40DA6A9F3525}"/>
              </a:ext>
            </a:extLst>
          </p:cNvPr>
          <p:cNvSpPr>
            <a:spLocks noGrp="1"/>
          </p:cNvSpPr>
          <p:nvPr>
            <p:ph type="dt" sz="half" idx="16"/>
          </p:nvPr>
        </p:nvSpPr>
        <p:spPr/>
        <p:txBody>
          <a:bodyPr/>
          <a:lstStyle/>
          <a:p>
            <a:fld id="{80C9161A-D2E3-4479-8BC8-9F316F438BF6}" type="datetime4">
              <a:rPr lang="de-CH" smtClean="0"/>
              <a:t>26. September 2023</a:t>
            </a:fld>
            <a:endParaRPr lang="de-CH" dirty="0"/>
          </a:p>
        </p:txBody>
      </p:sp>
      <p:sp>
        <p:nvSpPr>
          <p:cNvPr id="3" name="Fußzeilenplatzhalter 2">
            <a:extLst>
              <a:ext uri="{FF2B5EF4-FFF2-40B4-BE49-F238E27FC236}">
                <a16:creationId xmlns:a16="http://schemas.microsoft.com/office/drawing/2014/main" id="{E70694B8-C44D-247F-DCCD-F862E77C573D}"/>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49772C9E-459C-FCDE-423E-146543A06276}"/>
              </a:ext>
            </a:extLst>
          </p:cNvPr>
          <p:cNvSpPr>
            <a:spLocks noGrp="1"/>
          </p:cNvSpPr>
          <p:nvPr>
            <p:ph type="sldNum" sz="quarter" idx="18"/>
          </p:nvPr>
        </p:nvSpPr>
        <p:spPr/>
        <p:txBody>
          <a:bodyPr/>
          <a:lstStyle/>
          <a:p>
            <a:fld id="{4EAC321B-7500-4259-A00F-915439A35E15}" type="slidenum">
              <a:rPr lang="de-CH" smtClean="0"/>
              <a:pPr/>
              <a:t>30</a:t>
            </a:fld>
            <a:endParaRPr lang="de-CH" dirty="0"/>
          </a:p>
        </p:txBody>
      </p:sp>
      <p:sp>
        <p:nvSpPr>
          <p:cNvPr id="5" name="Titel 4">
            <a:extLst>
              <a:ext uri="{FF2B5EF4-FFF2-40B4-BE49-F238E27FC236}">
                <a16:creationId xmlns:a16="http://schemas.microsoft.com/office/drawing/2014/main" id="{6C2A3CCB-CA50-4F21-87D5-DC6F0686D11E}"/>
              </a:ext>
            </a:extLst>
          </p:cNvPr>
          <p:cNvSpPr>
            <a:spLocks noGrp="1"/>
          </p:cNvSpPr>
          <p:nvPr>
            <p:ph type="title"/>
          </p:nvPr>
        </p:nvSpPr>
        <p:spPr/>
        <p:txBody>
          <a:bodyPr vert="horz"/>
          <a:lstStyle/>
          <a:p>
            <a:r>
              <a:rPr lang="de-CH" dirty="0"/>
              <a:t>Beispiel V-Modell eines Raketenfallschirms</a:t>
            </a:r>
          </a:p>
        </p:txBody>
      </p:sp>
      <p:sp>
        <p:nvSpPr>
          <p:cNvPr id="6" name="Inhaltsplatzhalter 5">
            <a:extLst>
              <a:ext uri="{FF2B5EF4-FFF2-40B4-BE49-F238E27FC236}">
                <a16:creationId xmlns:a16="http://schemas.microsoft.com/office/drawing/2014/main" id="{4C888D3A-6084-0598-927D-9420C1359AD4}"/>
              </a:ext>
            </a:extLst>
          </p:cNvPr>
          <p:cNvSpPr>
            <a:spLocks noGrp="1"/>
          </p:cNvSpPr>
          <p:nvPr>
            <p:ph sz="quarter" idx="21"/>
          </p:nvPr>
        </p:nvSpPr>
        <p:spPr/>
        <p:txBody>
          <a:bodyPr/>
          <a:lstStyle/>
          <a:p>
            <a:endParaRPr lang="de-CH"/>
          </a:p>
        </p:txBody>
      </p:sp>
      <p:sp>
        <p:nvSpPr>
          <p:cNvPr id="7" name="Textplatzhalter 6">
            <a:extLst>
              <a:ext uri="{FF2B5EF4-FFF2-40B4-BE49-F238E27FC236}">
                <a16:creationId xmlns:a16="http://schemas.microsoft.com/office/drawing/2014/main" id="{182DAC4D-2649-DD0B-04DF-612211DC4114}"/>
              </a:ext>
            </a:extLst>
          </p:cNvPr>
          <p:cNvSpPr>
            <a:spLocks noGrp="1"/>
          </p:cNvSpPr>
          <p:nvPr>
            <p:ph type="body" sz="quarter" idx="24"/>
          </p:nvPr>
        </p:nvSpPr>
        <p:spPr/>
        <p:txBody>
          <a:bodyPr>
            <a:normAutofit fontScale="92500" lnSpcReduction="20000"/>
          </a:bodyPr>
          <a:lstStyle/>
          <a:p>
            <a:endParaRPr lang="de-CH"/>
          </a:p>
        </p:txBody>
      </p:sp>
      <p:pic>
        <p:nvPicPr>
          <p:cNvPr id="8" name="Grafik 7">
            <a:extLst>
              <a:ext uri="{FF2B5EF4-FFF2-40B4-BE49-F238E27FC236}">
                <a16:creationId xmlns:a16="http://schemas.microsoft.com/office/drawing/2014/main" id="{5E5D0DBB-1B2B-9000-FFE2-8C09E24470A3}"/>
              </a:ext>
            </a:extLst>
          </p:cNvPr>
          <p:cNvPicPr>
            <a:picLocks noChangeAspect="1"/>
          </p:cNvPicPr>
          <p:nvPr/>
        </p:nvPicPr>
        <p:blipFill>
          <a:blip r:embed="rId5"/>
          <a:stretch>
            <a:fillRect/>
          </a:stretch>
        </p:blipFill>
        <p:spPr>
          <a:xfrm>
            <a:off x="191463" y="1449388"/>
            <a:ext cx="11815423" cy="4768692"/>
          </a:xfrm>
          <a:prstGeom prst="rect">
            <a:avLst/>
          </a:prstGeom>
        </p:spPr>
      </p:pic>
    </p:spTree>
    <p:extLst>
      <p:ext uri="{BB962C8B-B14F-4D97-AF65-F5344CB8AC3E}">
        <p14:creationId xmlns:p14="http://schemas.microsoft.com/office/powerpoint/2010/main" val="7744812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A2AA2DE-431F-5C9B-FFD4-626174E9EDDB}"/>
              </a:ext>
            </a:extLst>
          </p:cNvPr>
          <p:cNvGraphicFramePr>
            <a:graphicFrameLocks noChangeAspect="1"/>
          </p:cNvGraphicFramePr>
          <p:nvPr>
            <p:custDataLst>
              <p:tags r:id="rId1"/>
            </p:custDataLst>
            <p:extLst>
              <p:ext uri="{D42A27DB-BD31-4B8C-83A1-F6EECF244321}">
                <p14:modId xmlns:p14="http://schemas.microsoft.com/office/powerpoint/2010/main" val="1311505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9" name="think-cell data - do not delete" hidden="1">
                        <a:extLst>
                          <a:ext uri="{FF2B5EF4-FFF2-40B4-BE49-F238E27FC236}">
                            <a16:creationId xmlns:a16="http://schemas.microsoft.com/office/drawing/2014/main" id="{CA2AA2DE-431F-5C9B-FFD4-626174E9ED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C40A0C23-6694-667E-DFE0-75F48D88CFCF}"/>
              </a:ext>
            </a:extLst>
          </p:cNvPr>
          <p:cNvSpPr>
            <a:spLocks noGrp="1"/>
          </p:cNvSpPr>
          <p:nvPr>
            <p:ph type="dt" sz="half" idx="16"/>
          </p:nvPr>
        </p:nvSpPr>
        <p:spPr/>
        <p:txBody>
          <a:bodyPr/>
          <a:lstStyle/>
          <a:p>
            <a:fld id="{B450F6E1-7524-4C60-8343-0EC618C9C78E}" type="datetime4">
              <a:rPr lang="de-CH" smtClean="0"/>
              <a:t>26. September 2023</a:t>
            </a:fld>
            <a:endParaRPr lang="de-CH" dirty="0"/>
          </a:p>
        </p:txBody>
      </p:sp>
      <p:sp>
        <p:nvSpPr>
          <p:cNvPr id="3" name="Fußzeilenplatzhalter 2">
            <a:extLst>
              <a:ext uri="{FF2B5EF4-FFF2-40B4-BE49-F238E27FC236}">
                <a16:creationId xmlns:a16="http://schemas.microsoft.com/office/drawing/2014/main" id="{765AB758-B46D-DAAA-61BA-82AA1E62A7DF}"/>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545D8120-6C26-BD58-9156-FCE696F6D3BD}"/>
              </a:ext>
            </a:extLst>
          </p:cNvPr>
          <p:cNvSpPr>
            <a:spLocks noGrp="1"/>
          </p:cNvSpPr>
          <p:nvPr>
            <p:ph type="sldNum" sz="quarter" idx="18"/>
          </p:nvPr>
        </p:nvSpPr>
        <p:spPr/>
        <p:txBody>
          <a:bodyPr/>
          <a:lstStyle/>
          <a:p>
            <a:fld id="{4EAC321B-7500-4259-A00F-915439A35E15}" type="slidenum">
              <a:rPr lang="de-CH" smtClean="0"/>
              <a:pPr/>
              <a:t>31</a:t>
            </a:fld>
            <a:endParaRPr lang="de-CH" dirty="0"/>
          </a:p>
        </p:txBody>
      </p:sp>
      <p:sp>
        <p:nvSpPr>
          <p:cNvPr id="5" name="Titel 4">
            <a:extLst>
              <a:ext uri="{FF2B5EF4-FFF2-40B4-BE49-F238E27FC236}">
                <a16:creationId xmlns:a16="http://schemas.microsoft.com/office/drawing/2014/main" id="{8E092AA3-A191-016E-A49F-FA4643496A00}"/>
              </a:ext>
            </a:extLst>
          </p:cNvPr>
          <p:cNvSpPr>
            <a:spLocks noGrp="1"/>
          </p:cNvSpPr>
          <p:nvPr>
            <p:ph type="title"/>
          </p:nvPr>
        </p:nvSpPr>
        <p:spPr/>
        <p:txBody>
          <a:bodyPr vert="horz"/>
          <a:lstStyle/>
          <a:p>
            <a:r>
              <a:rPr lang="de-CH" dirty="0"/>
              <a:t>Arten von Tests</a:t>
            </a:r>
          </a:p>
        </p:txBody>
      </p:sp>
      <p:sp>
        <p:nvSpPr>
          <p:cNvPr id="6" name="Inhaltsplatzhalter 5">
            <a:extLst>
              <a:ext uri="{FF2B5EF4-FFF2-40B4-BE49-F238E27FC236}">
                <a16:creationId xmlns:a16="http://schemas.microsoft.com/office/drawing/2014/main" id="{8689B04F-134B-837A-B55D-20B988553F1B}"/>
              </a:ext>
            </a:extLst>
          </p:cNvPr>
          <p:cNvSpPr>
            <a:spLocks noGrp="1"/>
          </p:cNvSpPr>
          <p:nvPr>
            <p:ph sz="quarter" idx="21"/>
          </p:nvPr>
        </p:nvSpPr>
        <p:spPr/>
        <p:txBody>
          <a:bodyPr/>
          <a:lstStyle/>
          <a:p>
            <a:r>
              <a:rPr lang="de-CH" b="1" dirty="0"/>
              <a:t>Umgebung: </a:t>
            </a:r>
            <a:r>
              <a:rPr lang="de-CH" dirty="0"/>
              <a:t>Produkte können in realen oder simulierten Umgebungen getestet werden. FEM-Simulationen, VR-Brillen etc.</a:t>
            </a:r>
          </a:p>
          <a:p>
            <a:r>
              <a:rPr lang="de-CH" b="1" dirty="0"/>
              <a:t>Konzepttests: </a:t>
            </a:r>
            <a:r>
              <a:rPr lang="de-CH" dirty="0"/>
              <a:t>Diese Tests werden durchgeführt, um die Akzeptanz und das Interesse potenzieller Kunden für eine Produktidee oder ein Produktkonzept zu bewerten, bevor mit der eigentlichen Entwicklung begonnen wird. Sie können in Form von Umfragen, Fokusgruppen oder Interviews durchgeführt werden.</a:t>
            </a:r>
          </a:p>
          <a:p>
            <a:r>
              <a:rPr lang="de-CH" b="1" dirty="0"/>
              <a:t>Usability-Tests: </a:t>
            </a:r>
            <a:r>
              <a:rPr lang="de-CH" dirty="0"/>
              <a:t>Bei Usability-Tests steht die Benutzerfreundlichkeit und Benutzererfahrung im Vordergrund. Personen werden gebeten, das Produkt oder den Prototyp zu verwenden, und ihre Interaktionen und Feedbacks werden aufgezeichnet, um Schwachstellen und Verbesserungspotenziale zu identifizieren.</a:t>
            </a:r>
          </a:p>
          <a:p>
            <a:r>
              <a:rPr lang="de-CH" b="1" dirty="0"/>
              <a:t>Labortests: </a:t>
            </a:r>
            <a:r>
              <a:rPr lang="de-CH" dirty="0"/>
              <a:t>In Labortests werden Produkte unter kontrollierten Bedingungen auf Leistung, Haltbarkeit, Sicherheit etc. getestet und gegen die Anforderungskriterien verglichen.</a:t>
            </a:r>
          </a:p>
        </p:txBody>
      </p:sp>
      <p:sp>
        <p:nvSpPr>
          <p:cNvPr id="7" name="Textplatzhalter 6">
            <a:extLst>
              <a:ext uri="{FF2B5EF4-FFF2-40B4-BE49-F238E27FC236}">
                <a16:creationId xmlns:a16="http://schemas.microsoft.com/office/drawing/2014/main" id="{6EBE6AD0-6C14-F718-51AD-50D4780A6E0E}"/>
              </a:ext>
            </a:extLst>
          </p:cNvPr>
          <p:cNvSpPr>
            <a:spLocks noGrp="1"/>
          </p:cNvSpPr>
          <p:nvPr>
            <p:ph type="body" sz="quarter" idx="24"/>
          </p:nvPr>
        </p:nvSpPr>
        <p:spPr/>
        <p:txBody>
          <a:bodyPr>
            <a:normAutofit fontScale="92500" lnSpcReduction="20000"/>
          </a:bodyPr>
          <a:lstStyle/>
          <a:p>
            <a:r>
              <a:rPr lang="de-CH" dirty="0"/>
              <a:t>Testen &amp; bewerten</a:t>
            </a:r>
          </a:p>
        </p:txBody>
      </p:sp>
    </p:spTree>
    <p:extLst>
      <p:ext uri="{BB962C8B-B14F-4D97-AF65-F5344CB8AC3E}">
        <p14:creationId xmlns:p14="http://schemas.microsoft.com/office/powerpoint/2010/main" val="18701638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7C37DA1-0E8B-D21F-79DE-790B3809269B}"/>
              </a:ext>
            </a:extLst>
          </p:cNvPr>
          <p:cNvGraphicFramePr>
            <a:graphicFrameLocks noChangeAspect="1"/>
          </p:cNvGraphicFramePr>
          <p:nvPr>
            <p:custDataLst>
              <p:tags r:id="rId1"/>
            </p:custDataLst>
            <p:extLst>
              <p:ext uri="{D42A27DB-BD31-4B8C-83A1-F6EECF244321}">
                <p14:modId xmlns:p14="http://schemas.microsoft.com/office/powerpoint/2010/main" val="2866362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8" name="think-cell data - do not delete" hidden="1">
                        <a:extLst>
                          <a:ext uri="{FF2B5EF4-FFF2-40B4-BE49-F238E27FC236}">
                            <a16:creationId xmlns:a16="http://schemas.microsoft.com/office/drawing/2014/main" id="{37C37DA1-0E8B-D21F-79DE-790B380926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63C123B2-AAD7-AD5E-E0F9-EAEA9C335E01}"/>
              </a:ext>
            </a:extLst>
          </p:cNvPr>
          <p:cNvSpPr>
            <a:spLocks noGrp="1"/>
          </p:cNvSpPr>
          <p:nvPr>
            <p:ph type="dt" sz="half" idx="16"/>
          </p:nvPr>
        </p:nvSpPr>
        <p:spPr/>
        <p:txBody>
          <a:bodyPr/>
          <a:lstStyle/>
          <a:p>
            <a:fld id="{80C9161A-D2E3-4479-8BC8-9F316F438BF6}" type="datetime4">
              <a:rPr lang="de-CH" smtClean="0"/>
              <a:t>26. September 2023</a:t>
            </a:fld>
            <a:endParaRPr lang="de-CH" dirty="0"/>
          </a:p>
        </p:txBody>
      </p:sp>
      <p:sp>
        <p:nvSpPr>
          <p:cNvPr id="3" name="Fußzeilenplatzhalter 2">
            <a:extLst>
              <a:ext uri="{FF2B5EF4-FFF2-40B4-BE49-F238E27FC236}">
                <a16:creationId xmlns:a16="http://schemas.microsoft.com/office/drawing/2014/main" id="{88CFFACB-7501-2E1F-A740-C8B9BF45D91A}"/>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4E4CB234-7FFD-FF90-452F-92381CBB837D}"/>
              </a:ext>
            </a:extLst>
          </p:cNvPr>
          <p:cNvSpPr>
            <a:spLocks noGrp="1"/>
          </p:cNvSpPr>
          <p:nvPr>
            <p:ph type="sldNum" sz="quarter" idx="18"/>
          </p:nvPr>
        </p:nvSpPr>
        <p:spPr/>
        <p:txBody>
          <a:bodyPr/>
          <a:lstStyle/>
          <a:p>
            <a:fld id="{4EAC321B-7500-4259-A00F-915439A35E15}" type="slidenum">
              <a:rPr lang="de-CH" smtClean="0"/>
              <a:pPr/>
              <a:t>32</a:t>
            </a:fld>
            <a:endParaRPr lang="de-CH" dirty="0"/>
          </a:p>
        </p:txBody>
      </p:sp>
      <p:sp>
        <p:nvSpPr>
          <p:cNvPr id="5" name="Titel 4">
            <a:extLst>
              <a:ext uri="{FF2B5EF4-FFF2-40B4-BE49-F238E27FC236}">
                <a16:creationId xmlns:a16="http://schemas.microsoft.com/office/drawing/2014/main" id="{E6296665-7A56-0251-028C-C620C9695233}"/>
              </a:ext>
            </a:extLst>
          </p:cNvPr>
          <p:cNvSpPr>
            <a:spLocks noGrp="1"/>
          </p:cNvSpPr>
          <p:nvPr>
            <p:ph type="title"/>
          </p:nvPr>
        </p:nvSpPr>
        <p:spPr/>
        <p:txBody>
          <a:bodyPr vert="horz"/>
          <a:lstStyle/>
          <a:p>
            <a:r>
              <a:rPr lang="de-CH" dirty="0"/>
              <a:t>Beispiel Testprotokoll</a:t>
            </a:r>
          </a:p>
        </p:txBody>
      </p:sp>
      <p:sp>
        <p:nvSpPr>
          <p:cNvPr id="6" name="Inhaltsplatzhalter 5">
            <a:extLst>
              <a:ext uri="{FF2B5EF4-FFF2-40B4-BE49-F238E27FC236}">
                <a16:creationId xmlns:a16="http://schemas.microsoft.com/office/drawing/2014/main" id="{0CFB976D-D010-8299-0F11-E0284663E4CC}"/>
              </a:ext>
            </a:extLst>
          </p:cNvPr>
          <p:cNvSpPr>
            <a:spLocks noGrp="1"/>
          </p:cNvSpPr>
          <p:nvPr>
            <p:ph sz="quarter" idx="21"/>
          </p:nvPr>
        </p:nvSpPr>
        <p:spPr/>
        <p:txBody>
          <a:bodyPr/>
          <a:lstStyle/>
          <a:p>
            <a:endParaRPr lang="de-CH"/>
          </a:p>
        </p:txBody>
      </p:sp>
      <p:sp>
        <p:nvSpPr>
          <p:cNvPr id="7" name="Textplatzhalter 6">
            <a:extLst>
              <a:ext uri="{FF2B5EF4-FFF2-40B4-BE49-F238E27FC236}">
                <a16:creationId xmlns:a16="http://schemas.microsoft.com/office/drawing/2014/main" id="{0D460511-6EEB-6678-26F5-67FABD793711}"/>
              </a:ext>
            </a:extLst>
          </p:cNvPr>
          <p:cNvSpPr>
            <a:spLocks noGrp="1"/>
          </p:cNvSpPr>
          <p:nvPr>
            <p:ph type="body" sz="quarter" idx="24"/>
          </p:nvPr>
        </p:nvSpPr>
        <p:spPr/>
        <p:txBody>
          <a:bodyPr>
            <a:normAutofit fontScale="92500" lnSpcReduction="20000"/>
          </a:bodyPr>
          <a:lstStyle/>
          <a:p>
            <a:endParaRPr lang="de-CH"/>
          </a:p>
        </p:txBody>
      </p:sp>
      <p:pic>
        <p:nvPicPr>
          <p:cNvPr id="10" name="Grafik 9">
            <a:extLst>
              <a:ext uri="{FF2B5EF4-FFF2-40B4-BE49-F238E27FC236}">
                <a16:creationId xmlns:a16="http://schemas.microsoft.com/office/drawing/2014/main" id="{E72CDF21-8E8F-BDD3-38EA-E5DB097A559F}"/>
              </a:ext>
            </a:extLst>
          </p:cNvPr>
          <p:cNvPicPr>
            <a:picLocks noChangeAspect="1"/>
          </p:cNvPicPr>
          <p:nvPr/>
        </p:nvPicPr>
        <p:blipFill>
          <a:blip r:embed="rId5"/>
          <a:stretch>
            <a:fillRect/>
          </a:stretch>
        </p:blipFill>
        <p:spPr>
          <a:xfrm>
            <a:off x="2534815" y="1863730"/>
            <a:ext cx="7271596" cy="4302120"/>
          </a:xfrm>
          <a:prstGeom prst="rect">
            <a:avLst/>
          </a:prstGeom>
        </p:spPr>
      </p:pic>
    </p:spTree>
    <p:extLst>
      <p:ext uri="{BB962C8B-B14F-4D97-AF65-F5344CB8AC3E}">
        <p14:creationId xmlns:p14="http://schemas.microsoft.com/office/powerpoint/2010/main" val="23284715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70196-2F4A-7DD4-AEF0-95E985AE1D71}"/>
              </a:ext>
            </a:extLst>
          </p:cNvPr>
          <p:cNvGraphicFramePr>
            <a:graphicFrameLocks noChangeAspect="1"/>
          </p:cNvGraphicFramePr>
          <p:nvPr>
            <p:custDataLst>
              <p:tags r:id="rId1"/>
            </p:custDataLst>
            <p:extLst>
              <p:ext uri="{D42A27DB-BD31-4B8C-83A1-F6EECF244321}">
                <p14:modId xmlns:p14="http://schemas.microsoft.com/office/powerpoint/2010/main" val="187358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9" name="think-cell data - do not delete" hidden="1">
                        <a:extLst>
                          <a:ext uri="{FF2B5EF4-FFF2-40B4-BE49-F238E27FC236}">
                            <a16:creationId xmlns:a16="http://schemas.microsoft.com/office/drawing/2014/main" id="{0D570196-2F4A-7DD4-AEF0-95E985AE1D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DC3CF34D-3988-23E3-7F88-40A4235504CB}"/>
              </a:ext>
            </a:extLst>
          </p:cNvPr>
          <p:cNvSpPr>
            <a:spLocks noGrp="1"/>
          </p:cNvSpPr>
          <p:nvPr>
            <p:ph type="dt" sz="half" idx="16"/>
          </p:nvPr>
        </p:nvSpPr>
        <p:spPr/>
        <p:txBody>
          <a:bodyPr/>
          <a:lstStyle/>
          <a:p>
            <a:fld id="{80C9161A-D2E3-4479-8BC8-9F316F438BF6}" type="datetime4">
              <a:rPr lang="de-CH" smtClean="0"/>
              <a:t>26. September 2023</a:t>
            </a:fld>
            <a:endParaRPr lang="de-CH" dirty="0"/>
          </a:p>
        </p:txBody>
      </p:sp>
      <p:sp>
        <p:nvSpPr>
          <p:cNvPr id="3" name="Fußzeilenplatzhalter 2">
            <a:extLst>
              <a:ext uri="{FF2B5EF4-FFF2-40B4-BE49-F238E27FC236}">
                <a16:creationId xmlns:a16="http://schemas.microsoft.com/office/drawing/2014/main" id="{3D841DB1-A30F-AFCF-FDE2-1620EACA7BBE}"/>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46E2153A-A894-F25A-98AA-8CCD98424907}"/>
              </a:ext>
            </a:extLst>
          </p:cNvPr>
          <p:cNvSpPr>
            <a:spLocks noGrp="1"/>
          </p:cNvSpPr>
          <p:nvPr>
            <p:ph type="sldNum" sz="quarter" idx="18"/>
          </p:nvPr>
        </p:nvSpPr>
        <p:spPr/>
        <p:txBody>
          <a:bodyPr/>
          <a:lstStyle/>
          <a:p>
            <a:fld id="{4EAC321B-7500-4259-A00F-915439A35E15}" type="slidenum">
              <a:rPr lang="de-CH" smtClean="0"/>
              <a:pPr/>
              <a:t>33</a:t>
            </a:fld>
            <a:endParaRPr lang="de-CH" dirty="0"/>
          </a:p>
        </p:txBody>
      </p:sp>
      <p:sp>
        <p:nvSpPr>
          <p:cNvPr id="5" name="Titel 4">
            <a:extLst>
              <a:ext uri="{FF2B5EF4-FFF2-40B4-BE49-F238E27FC236}">
                <a16:creationId xmlns:a16="http://schemas.microsoft.com/office/drawing/2014/main" id="{B19B1732-12EA-FBBD-E97D-D6F6348D3B0E}"/>
              </a:ext>
            </a:extLst>
          </p:cNvPr>
          <p:cNvSpPr>
            <a:spLocks noGrp="1"/>
          </p:cNvSpPr>
          <p:nvPr>
            <p:ph type="title"/>
          </p:nvPr>
        </p:nvSpPr>
        <p:spPr/>
        <p:txBody>
          <a:bodyPr vert="horz"/>
          <a:lstStyle/>
          <a:p>
            <a:r>
              <a:rPr lang="de-CH" dirty="0"/>
              <a:t>Statistische Versuchsplanung: DOE</a:t>
            </a:r>
          </a:p>
        </p:txBody>
      </p:sp>
      <p:sp>
        <p:nvSpPr>
          <p:cNvPr id="6" name="Inhaltsplatzhalter 5">
            <a:extLst>
              <a:ext uri="{FF2B5EF4-FFF2-40B4-BE49-F238E27FC236}">
                <a16:creationId xmlns:a16="http://schemas.microsoft.com/office/drawing/2014/main" id="{DCE11404-F76C-996D-5C9B-ED76647DF452}"/>
              </a:ext>
            </a:extLst>
          </p:cNvPr>
          <p:cNvSpPr>
            <a:spLocks noGrp="1"/>
          </p:cNvSpPr>
          <p:nvPr>
            <p:ph sz="quarter" idx="21"/>
          </p:nvPr>
        </p:nvSpPr>
        <p:spPr/>
        <p:txBody>
          <a:bodyPr/>
          <a:lstStyle/>
          <a:p>
            <a:endParaRPr lang="de-CH"/>
          </a:p>
        </p:txBody>
      </p:sp>
      <p:sp>
        <p:nvSpPr>
          <p:cNvPr id="7" name="Textplatzhalter 6">
            <a:extLst>
              <a:ext uri="{FF2B5EF4-FFF2-40B4-BE49-F238E27FC236}">
                <a16:creationId xmlns:a16="http://schemas.microsoft.com/office/drawing/2014/main" id="{5FA5B382-E335-F6F6-DA20-DA7046B2465C}"/>
              </a:ext>
            </a:extLst>
          </p:cNvPr>
          <p:cNvSpPr>
            <a:spLocks noGrp="1"/>
          </p:cNvSpPr>
          <p:nvPr>
            <p:ph type="body" sz="quarter" idx="24"/>
          </p:nvPr>
        </p:nvSpPr>
        <p:spPr/>
        <p:txBody>
          <a:bodyPr>
            <a:normAutofit fontScale="92500" lnSpcReduction="20000"/>
          </a:bodyPr>
          <a:lstStyle/>
          <a:p>
            <a:endParaRPr lang="de-CH"/>
          </a:p>
        </p:txBody>
      </p:sp>
    </p:spTree>
    <p:extLst>
      <p:ext uri="{BB962C8B-B14F-4D97-AF65-F5344CB8AC3E}">
        <p14:creationId xmlns:p14="http://schemas.microsoft.com/office/powerpoint/2010/main" val="26250575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445B437-43A0-3ED2-8D7A-D7B9B9554D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7" name="think-cell data - do not delete" hidden="1">
                        <a:extLst>
                          <a:ext uri="{FF2B5EF4-FFF2-40B4-BE49-F238E27FC236}">
                            <a16:creationId xmlns:a16="http://schemas.microsoft.com/office/drawing/2014/main" id="{2445B437-43A0-3ED2-8D7A-D7B9B9554D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Placeholder 12"/>
          <p:cNvPicPr>
            <a:picLocks noGrp="1" noChangeAspect="1"/>
          </p:cNvPicPr>
          <p:nvPr>
            <p:ph type="pic" sz="quarter" idx="12"/>
          </p:nvPr>
        </p:nvPicPr>
        <p:blipFill>
          <a:blip r:embed="rId6"/>
          <a:srcRect t="14507" b="14507"/>
          <a:stretch/>
        </p:blipFill>
        <p:spPr/>
      </p:pic>
      <p:sp>
        <p:nvSpPr>
          <p:cNvPr id="8" name="Title 7"/>
          <p:cNvSpPr>
            <a:spLocks noGrp="1"/>
          </p:cNvSpPr>
          <p:nvPr>
            <p:ph type="ctrTitle"/>
          </p:nvPr>
        </p:nvSpPr>
        <p:spPr>
          <a:xfrm>
            <a:off x="5338531" y="3550464"/>
            <a:ext cx="5957391" cy="674200"/>
          </a:xfrm>
        </p:spPr>
        <p:txBody>
          <a:bodyPr vert="horz"/>
          <a:lstStyle/>
          <a:p>
            <a:r>
              <a:rPr lang="de-DE" sz="3200" dirty="0"/>
              <a:t>Risikomanagement</a:t>
            </a:r>
            <a:endParaRPr lang="de-DE" dirty="0"/>
          </a:p>
        </p:txBody>
      </p:sp>
      <p:sp>
        <p:nvSpPr>
          <p:cNvPr id="10" name="Text Placeholder 9"/>
          <p:cNvSpPr>
            <a:spLocks noGrp="1"/>
          </p:cNvSpPr>
          <p:nvPr>
            <p:ph type="body" sz="quarter" idx="13"/>
          </p:nvPr>
        </p:nvSpPr>
        <p:spPr/>
        <p:txBody>
          <a:bodyPr/>
          <a:lstStyle/>
          <a:p>
            <a:endParaRPr lang="en-US" dirty="0"/>
          </a:p>
        </p:txBody>
      </p:sp>
      <p:sp>
        <p:nvSpPr>
          <p:cNvPr id="3" name="Footer Placeholder 2"/>
          <p:cNvSpPr>
            <a:spLocks noGrp="1"/>
          </p:cNvSpPr>
          <p:nvPr>
            <p:ph type="ftr" sz="quarter" idx="4294967295"/>
          </p:nvPr>
        </p:nvSpPr>
        <p:spPr>
          <a:xfrm>
            <a:off x="538163" y="6454775"/>
            <a:ext cx="5364163" cy="333375"/>
          </a:xfrm>
        </p:spPr>
        <p:txBody>
          <a:bodyPr/>
          <a:lstStyle/>
          <a:p>
            <a:r>
              <a:rPr lang="en-US"/>
              <a:t>Wissensnugget - Qualität</a:t>
            </a:r>
            <a:endParaRPr lang="de-CH" dirty="0"/>
          </a:p>
        </p:txBody>
      </p:sp>
      <p:sp>
        <p:nvSpPr>
          <p:cNvPr id="4" name="Slide Number Placeholder 3"/>
          <p:cNvSpPr>
            <a:spLocks noGrp="1"/>
          </p:cNvSpPr>
          <p:nvPr>
            <p:ph type="sldNum" sz="quarter" idx="4294967295"/>
          </p:nvPr>
        </p:nvSpPr>
        <p:spPr>
          <a:xfrm>
            <a:off x="0" y="6453188"/>
            <a:ext cx="538163" cy="179387"/>
          </a:xfrm>
        </p:spPr>
        <p:txBody>
          <a:bodyPr/>
          <a:lstStyle/>
          <a:p>
            <a:fld id="{4EAC321B-7500-4259-A00F-915439A35E15}" type="slidenum">
              <a:rPr lang="de-CH" smtClean="0"/>
              <a:pPr/>
              <a:t>34</a:t>
            </a:fld>
            <a:endParaRPr lang="de-CH" dirty="0"/>
          </a:p>
        </p:txBody>
      </p:sp>
      <p:sp>
        <p:nvSpPr>
          <p:cNvPr id="2" name="Date Placeholder 1"/>
          <p:cNvSpPr>
            <a:spLocks noGrp="1"/>
          </p:cNvSpPr>
          <p:nvPr>
            <p:ph type="dt" sz="half" idx="10"/>
          </p:nvPr>
        </p:nvSpPr>
        <p:spPr/>
        <p:txBody>
          <a:bodyPr/>
          <a:lstStyle/>
          <a:p>
            <a:fld id="{13475423-AD03-44E5-BA26-254F48E910F6}" type="datetime4">
              <a:rPr lang="de-CH" smtClean="0"/>
              <a:t>26. September 2023</a:t>
            </a:fld>
            <a:endParaRPr lang="de-CH" dirty="0"/>
          </a:p>
        </p:txBody>
      </p:sp>
    </p:spTree>
    <p:extLst>
      <p:ext uri="{BB962C8B-B14F-4D97-AF65-F5344CB8AC3E}">
        <p14:creationId xmlns:p14="http://schemas.microsoft.com/office/powerpoint/2010/main" val="323908810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028DFA4-5CAD-306B-F22E-3BABC34C04FC}"/>
              </a:ext>
            </a:extLst>
          </p:cNvPr>
          <p:cNvGraphicFramePr>
            <a:graphicFrameLocks noChangeAspect="1"/>
          </p:cNvGraphicFramePr>
          <p:nvPr>
            <p:custDataLst>
              <p:tags r:id="rId1"/>
            </p:custDataLst>
            <p:extLst>
              <p:ext uri="{D42A27DB-BD31-4B8C-83A1-F6EECF244321}">
                <p14:modId xmlns:p14="http://schemas.microsoft.com/office/powerpoint/2010/main" val="3530632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8" name="think-cell data - do not delete" hidden="1">
                        <a:extLst>
                          <a:ext uri="{FF2B5EF4-FFF2-40B4-BE49-F238E27FC236}">
                            <a16:creationId xmlns:a16="http://schemas.microsoft.com/office/drawing/2014/main" id="{D028DFA4-5CAD-306B-F22E-3BABC34C04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2697BFE3-827D-2EBB-D859-7A8B97B4BD9D}"/>
              </a:ext>
            </a:extLst>
          </p:cNvPr>
          <p:cNvSpPr>
            <a:spLocks noGrp="1"/>
          </p:cNvSpPr>
          <p:nvPr>
            <p:ph type="dt" sz="half" idx="16"/>
          </p:nvPr>
        </p:nvSpPr>
        <p:spPr/>
        <p:txBody>
          <a:bodyPr/>
          <a:lstStyle/>
          <a:p>
            <a:fld id="{638D80B8-3C6A-4896-9B7C-962DC565DD20}" type="datetime4">
              <a:rPr lang="de-CH" smtClean="0"/>
              <a:t>26. September 2023</a:t>
            </a:fld>
            <a:endParaRPr lang="de-CH" dirty="0"/>
          </a:p>
        </p:txBody>
      </p:sp>
      <p:sp>
        <p:nvSpPr>
          <p:cNvPr id="3" name="Fußzeilenplatzhalter 2">
            <a:extLst>
              <a:ext uri="{FF2B5EF4-FFF2-40B4-BE49-F238E27FC236}">
                <a16:creationId xmlns:a16="http://schemas.microsoft.com/office/drawing/2014/main" id="{4BC7BC4A-6614-474B-1D97-4AAEDDF78777}"/>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DADFE67B-C94E-3D7A-C114-7C5205294CF3}"/>
              </a:ext>
            </a:extLst>
          </p:cNvPr>
          <p:cNvSpPr>
            <a:spLocks noGrp="1"/>
          </p:cNvSpPr>
          <p:nvPr>
            <p:ph type="sldNum" sz="quarter" idx="18"/>
          </p:nvPr>
        </p:nvSpPr>
        <p:spPr/>
        <p:txBody>
          <a:bodyPr/>
          <a:lstStyle/>
          <a:p>
            <a:fld id="{4EAC321B-7500-4259-A00F-915439A35E15}" type="slidenum">
              <a:rPr lang="de-CH" smtClean="0"/>
              <a:pPr/>
              <a:t>35</a:t>
            </a:fld>
            <a:endParaRPr lang="de-CH" dirty="0"/>
          </a:p>
        </p:txBody>
      </p:sp>
      <p:sp>
        <p:nvSpPr>
          <p:cNvPr id="5" name="Titel 4">
            <a:extLst>
              <a:ext uri="{FF2B5EF4-FFF2-40B4-BE49-F238E27FC236}">
                <a16:creationId xmlns:a16="http://schemas.microsoft.com/office/drawing/2014/main" id="{D881A357-E6B9-79A9-B00D-6C72D5BB8BF5}"/>
              </a:ext>
            </a:extLst>
          </p:cNvPr>
          <p:cNvSpPr>
            <a:spLocks noGrp="1"/>
          </p:cNvSpPr>
          <p:nvPr>
            <p:ph type="title"/>
          </p:nvPr>
        </p:nvSpPr>
        <p:spPr/>
        <p:txBody>
          <a:bodyPr vert="horz"/>
          <a:lstStyle/>
          <a:p>
            <a:r>
              <a:rPr lang="de-CH" dirty="0"/>
              <a:t>Warum Risikomanagement?</a:t>
            </a:r>
          </a:p>
        </p:txBody>
      </p:sp>
      <p:sp>
        <p:nvSpPr>
          <p:cNvPr id="6" name="Inhaltsplatzhalter 5">
            <a:extLst>
              <a:ext uri="{FF2B5EF4-FFF2-40B4-BE49-F238E27FC236}">
                <a16:creationId xmlns:a16="http://schemas.microsoft.com/office/drawing/2014/main" id="{8A4F9475-F0AA-7381-BCB5-09E6A8CC2507}"/>
              </a:ext>
            </a:extLst>
          </p:cNvPr>
          <p:cNvSpPr>
            <a:spLocks noGrp="1"/>
          </p:cNvSpPr>
          <p:nvPr>
            <p:ph sz="quarter" idx="21"/>
          </p:nvPr>
        </p:nvSpPr>
        <p:spPr/>
        <p:txBody>
          <a:bodyPr/>
          <a:lstStyle/>
          <a:p>
            <a:r>
              <a:rPr lang="de-CH" dirty="0"/>
              <a:t>Bei der Erkundung neuer Wege und der Entwicklung innovativer Produkte geht stets auch das Risiko einher, dass Dinge nicht wie geplant verlaufen. Durch eine gezielte Anwendung von Risikomanagement kann jedoch dieses Restrisiko auf ein akzeptables Maß reduziert werden. Hierbei werden Gefahren systematisch erkannt und bewertet, um anschließend gezielte Maßnahmen zur Risikominimierung zu ergreifen.</a:t>
            </a:r>
          </a:p>
        </p:txBody>
      </p:sp>
      <p:sp>
        <p:nvSpPr>
          <p:cNvPr id="7" name="Textplatzhalter 6">
            <a:extLst>
              <a:ext uri="{FF2B5EF4-FFF2-40B4-BE49-F238E27FC236}">
                <a16:creationId xmlns:a16="http://schemas.microsoft.com/office/drawing/2014/main" id="{FEEE2129-2BB4-335B-6D2A-20009F83CFBE}"/>
              </a:ext>
            </a:extLst>
          </p:cNvPr>
          <p:cNvSpPr>
            <a:spLocks noGrp="1"/>
          </p:cNvSpPr>
          <p:nvPr>
            <p:ph type="body" sz="quarter" idx="24"/>
          </p:nvPr>
        </p:nvSpPr>
        <p:spPr/>
        <p:txBody>
          <a:bodyPr>
            <a:normAutofit fontScale="92500" lnSpcReduction="20000"/>
          </a:bodyPr>
          <a:lstStyle/>
          <a:p>
            <a:r>
              <a:rPr lang="de-CH" dirty="0"/>
              <a:t>Risikomanagement</a:t>
            </a:r>
          </a:p>
        </p:txBody>
      </p:sp>
    </p:spTree>
    <p:extLst>
      <p:ext uri="{BB962C8B-B14F-4D97-AF65-F5344CB8AC3E}">
        <p14:creationId xmlns:p14="http://schemas.microsoft.com/office/powerpoint/2010/main" val="20260587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7AE5CC0C-3582-7882-ECC2-FE91E9075FB9}"/>
              </a:ext>
            </a:extLst>
          </p:cNvPr>
          <p:cNvGraphicFramePr>
            <a:graphicFrameLocks noChangeAspect="1"/>
          </p:cNvGraphicFramePr>
          <p:nvPr>
            <p:custDataLst>
              <p:tags r:id="rId1"/>
            </p:custDataLst>
            <p:extLst>
              <p:ext uri="{D42A27DB-BD31-4B8C-83A1-F6EECF244321}">
                <p14:modId xmlns:p14="http://schemas.microsoft.com/office/powerpoint/2010/main" val="3729145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14" name="think-cell data - do not delete" hidden="1">
                        <a:extLst>
                          <a:ext uri="{FF2B5EF4-FFF2-40B4-BE49-F238E27FC236}">
                            <a16:creationId xmlns:a16="http://schemas.microsoft.com/office/drawing/2014/main" id="{7AE5CC0C-3582-7882-ECC2-FE91E9075F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Grafik 9">
            <a:extLst>
              <a:ext uri="{FF2B5EF4-FFF2-40B4-BE49-F238E27FC236}">
                <a16:creationId xmlns:a16="http://schemas.microsoft.com/office/drawing/2014/main" id="{026A22BF-5372-4FFA-A92F-A66FB82E103D}"/>
              </a:ext>
            </a:extLst>
          </p:cNvPr>
          <p:cNvPicPr>
            <a:picLocks noChangeAspect="1"/>
          </p:cNvPicPr>
          <p:nvPr/>
        </p:nvPicPr>
        <p:blipFill>
          <a:blip r:embed="rId6"/>
          <a:stretch>
            <a:fillRect/>
          </a:stretch>
        </p:blipFill>
        <p:spPr>
          <a:xfrm>
            <a:off x="4787482" y="1198665"/>
            <a:ext cx="3556388" cy="2700000"/>
          </a:xfrm>
          <a:prstGeom prst="rect">
            <a:avLst/>
          </a:prstGeom>
        </p:spPr>
      </p:pic>
      <p:sp>
        <p:nvSpPr>
          <p:cNvPr id="2" name="Titel 1">
            <a:extLst>
              <a:ext uri="{FF2B5EF4-FFF2-40B4-BE49-F238E27FC236}">
                <a16:creationId xmlns:a16="http://schemas.microsoft.com/office/drawing/2014/main" id="{57D58146-C86B-4913-835D-3488E9F0C97F}"/>
              </a:ext>
            </a:extLst>
          </p:cNvPr>
          <p:cNvSpPr>
            <a:spLocks noGrp="1"/>
          </p:cNvSpPr>
          <p:nvPr>
            <p:ph type="title"/>
          </p:nvPr>
        </p:nvSpPr>
        <p:spPr/>
        <p:txBody>
          <a:bodyPr vert="horz">
            <a:normAutofit/>
          </a:bodyPr>
          <a:lstStyle/>
          <a:p>
            <a:r>
              <a:rPr lang="de-CH" dirty="0"/>
              <a:t>Überblick Risikomanagement</a:t>
            </a:r>
          </a:p>
        </p:txBody>
      </p:sp>
      <p:sp>
        <p:nvSpPr>
          <p:cNvPr id="3" name="Datumsplatzhalter 2">
            <a:extLst>
              <a:ext uri="{FF2B5EF4-FFF2-40B4-BE49-F238E27FC236}">
                <a16:creationId xmlns:a16="http://schemas.microsoft.com/office/drawing/2014/main" id="{AD17841F-550E-413B-BAC0-EC96B7E4D228}"/>
              </a:ext>
            </a:extLst>
          </p:cNvPr>
          <p:cNvSpPr>
            <a:spLocks noGrp="1"/>
          </p:cNvSpPr>
          <p:nvPr>
            <p:ph type="dt" sz="half" idx="10"/>
          </p:nvPr>
        </p:nvSpPr>
        <p:spPr/>
        <p:txBody>
          <a:bodyPr/>
          <a:lstStyle/>
          <a:p>
            <a:pPr defTabSz="914400"/>
            <a:fld id="{AAE4D0B4-648D-451E-ADE7-2A87FE4AAAF3}" type="datetime4">
              <a:rPr lang="de-CH" smtClean="0">
                <a:solidFill>
                  <a:prstClr val="white"/>
                </a:solidFill>
                <a:latin typeface="Arial"/>
              </a:rPr>
              <a:t>26. September 2023</a:t>
            </a:fld>
            <a:endParaRPr lang="en-US">
              <a:solidFill>
                <a:prstClr val="white"/>
              </a:solidFill>
              <a:latin typeface="Arial"/>
            </a:endParaRPr>
          </a:p>
        </p:txBody>
      </p:sp>
      <p:pic>
        <p:nvPicPr>
          <p:cNvPr id="20" name="Grafik 19">
            <a:extLst>
              <a:ext uri="{FF2B5EF4-FFF2-40B4-BE49-F238E27FC236}">
                <a16:creationId xmlns:a16="http://schemas.microsoft.com/office/drawing/2014/main" id="{4086981C-D587-4BAB-9665-B57921CE562B}"/>
              </a:ext>
            </a:extLst>
          </p:cNvPr>
          <p:cNvPicPr>
            <a:picLocks noChangeAspect="1"/>
          </p:cNvPicPr>
          <p:nvPr/>
        </p:nvPicPr>
        <p:blipFill>
          <a:blip r:embed="rId7"/>
          <a:stretch>
            <a:fillRect/>
          </a:stretch>
        </p:blipFill>
        <p:spPr>
          <a:xfrm>
            <a:off x="4760392" y="3894886"/>
            <a:ext cx="3624000" cy="2736000"/>
          </a:xfrm>
          <a:prstGeom prst="rect">
            <a:avLst/>
          </a:prstGeom>
        </p:spPr>
      </p:pic>
      <p:pic>
        <p:nvPicPr>
          <p:cNvPr id="7" name="Grafik 6">
            <a:extLst>
              <a:ext uri="{FF2B5EF4-FFF2-40B4-BE49-F238E27FC236}">
                <a16:creationId xmlns:a16="http://schemas.microsoft.com/office/drawing/2014/main" id="{4D25131E-E35B-0878-3697-D8D4314A8539}"/>
              </a:ext>
            </a:extLst>
          </p:cNvPr>
          <p:cNvPicPr>
            <a:picLocks noChangeAspect="1"/>
          </p:cNvPicPr>
          <p:nvPr/>
        </p:nvPicPr>
        <p:blipFill>
          <a:blip r:embed="rId8"/>
          <a:stretch>
            <a:fillRect/>
          </a:stretch>
        </p:blipFill>
        <p:spPr>
          <a:xfrm>
            <a:off x="304388" y="1485219"/>
            <a:ext cx="4227317" cy="4816578"/>
          </a:xfrm>
          <a:prstGeom prst="rect">
            <a:avLst/>
          </a:prstGeom>
        </p:spPr>
      </p:pic>
      <p:pic>
        <p:nvPicPr>
          <p:cNvPr id="3074" name="Picture 2" descr="ISO 14971 Definition | Arena">
            <a:extLst>
              <a:ext uri="{FF2B5EF4-FFF2-40B4-BE49-F238E27FC236}">
                <a16:creationId xmlns:a16="http://schemas.microsoft.com/office/drawing/2014/main" id="{86FF2ED3-FA7F-3229-070B-D691F44CA88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727378" y="165304"/>
            <a:ext cx="1297625" cy="1399336"/>
          </a:xfrm>
          <a:prstGeom prst="rect">
            <a:avLst/>
          </a:prstGeom>
          <a:noFill/>
          <a:extLst>
            <a:ext uri="{909E8E84-426E-40DD-AFC4-6F175D3DCCD1}">
              <a14:hiddenFill xmlns:a14="http://schemas.microsoft.com/office/drawing/2010/main">
                <a:solidFill>
                  <a:srgbClr val="FFFFFF"/>
                </a:solidFill>
              </a14:hiddenFill>
            </a:ext>
          </a:extLst>
        </p:spPr>
      </p:pic>
      <p:sp>
        <p:nvSpPr>
          <p:cNvPr id="9" name="Fußzeilenplatzhalter 8">
            <a:extLst>
              <a:ext uri="{FF2B5EF4-FFF2-40B4-BE49-F238E27FC236}">
                <a16:creationId xmlns:a16="http://schemas.microsoft.com/office/drawing/2014/main" id="{B86603EF-0889-5EA4-3D1A-2A9C9968727E}"/>
              </a:ext>
            </a:extLst>
          </p:cNvPr>
          <p:cNvSpPr>
            <a:spLocks noGrp="1"/>
          </p:cNvSpPr>
          <p:nvPr>
            <p:ph type="ftr" sz="quarter" idx="11"/>
          </p:nvPr>
        </p:nvSpPr>
        <p:spPr/>
        <p:txBody>
          <a:bodyPr/>
          <a:lstStyle/>
          <a:p>
            <a:r>
              <a:rPr lang="en-US"/>
              <a:t>Wissensnugget - Qualität</a:t>
            </a:r>
          </a:p>
        </p:txBody>
      </p:sp>
      <p:sp>
        <p:nvSpPr>
          <p:cNvPr id="11" name="Foliennummernplatzhalter 10">
            <a:extLst>
              <a:ext uri="{FF2B5EF4-FFF2-40B4-BE49-F238E27FC236}">
                <a16:creationId xmlns:a16="http://schemas.microsoft.com/office/drawing/2014/main" id="{1CB21CF9-EF9F-422D-DE6D-9A93B1B35D9C}"/>
              </a:ext>
            </a:extLst>
          </p:cNvPr>
          <p:cNvSpPr>
            <a:spLocks noGrp="1"/>
          </p:cNvSpPr>
          <p:nvPr>
            <p:ph type="sldNum" sz="quarter" idx="12"/>
          </p:nvPr>
        </p:nvSpPr>
        <p:spPr/>
        <p:txBody>
          <a:bodyPr/>
          <a:lstStyle/>
          <a:p>
            <a:fld id="{8C5C37AD-8160-4827-8EF6-0CA9F3A6E3CF}" type="slidenum">
              <a:rPr lang="en-US" smtClean="0"/>
              <a:pPr/>
              <a:t>36</a:t>
            </a:fld>
            <a:endParaRPr lang="en-US"/>
          </a:p>
        </p:txBody>
      </p:sp>
      <p:sp>
        <p:nvSpPr>
          <p:cNvPr id="16" name="Geschweifte Klammer links 15">
            <a:extLst>
              <a:ext uri="{FF2B5EF4-FFF2-40B4-BE49-F238E27FC236}">
                <a16:creationId xmlns:a16="http://schemas.microsoft.com/office/drawing/2014/main" id="{43C59CC1-116A-4ACD-949C-81B24702EFFD}"/>
              </a:ext>
            </a:extLst>
          </p:cNvPr>
          <p:cNvSpPr/>
          <p:nvPr/>
        </p:nvSpPr>
        <p:spPr>
          <a:xfrm>
            <a:off x="4417987" y="2114202"/>
            <a:ext cx="363354" cy="1724849"/>
          </a:xfrm>
          <a:prstGeom prst="leftBrace">
            <a:avLst/>
          </a:prstGeom>
          <a:ln w="28575">
            <a:solidFill>
              <a:srgbClr val="8C195F"/>
            </a:solidFill>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endParaRPr lang="de-CH" sz="1800">
              <a:solidFill>
                <a:prstClr val="black"/>
              </a:solidFill>
              <a:latin typeface="Arial"/>
            </a:endParaRPr>
          </a:p>
        </p:txBody>
      </p:sp>
      <p:cxnSp>
        <p:nvCxnSpPr>
          <p:cNvPr id="17" name="Gerade Verbindung mit Pfeil 16">
            <a:extLst>
              <a:ext uri="{FF2B5EF4-FFF2-40B4-BE49-F238E27FC236}">
                <a16:creationId xmlns:a16="http://schemas.microsoft.com/office/drawing/2014/main" id="{8EE96F64-981B-4F73-977C-7130AB7B3B15}"/>
              </a:ext>
            </a:extLst>
          </p:cNvPr>
          <p:cNvCxnSpPr>
            <a:cxnSpLocks/>
          </p:cNvCxnSpPr>
          <p:nvPr/>
        </p:nvCxnSpPr>
        <p:spPr>
          <a:xfrm flipV="1">
            <a:off x="2853131" y="2976626"/>
            <a:ext cx="1462100" cy="828840"/>
          </a:xfrm>
          <a:prstGeom prst="straightConnector1">
            <a:avLst/>
          </a:prstGeom>
          <a:ln w="28575">
            <a:solidFill>
              <a:srgbClr val="8C195F"/>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2" name="Gerade Verbindung mit Pfeil 11">
            <a:extLst>
              <a:ext uri="{FF2B5EF4-FFF2-40B4-BE49-F238E27FC236}">
                <a16:creationId xmlns:a16="http://schemas.microsoft.com/office/drawing/2014/main" id="{D00C71BF-0D76-471B-916B-445178C86EC5}"/>
              </a:ext>
            </a:extLst>
          </p:cNvPr>
          <p:cNvCxnSpPr>
            <a:cxnSpLocks/>
          </p:cNvCxnSpPr>
          <p:nvPr/>
        </p:nvCxnSpPr>
        <p:spPr>
          <a:xfrm flipV="1">
            <a:off x="2481806" y="1746785"/>
            <a:ext cx="2662255" cy="158604"/>
          </a:xfrm>
          <a:prstGeom prst="straightConnector1">
            <a:avLst/>
          </a:prstGeom>
          <a:ln w="28575">
            <a:solidFill>
              <a:srgbClr val="8C195F"/>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4" name="Gerade Verbindung mit Pfeil 23">
            <a:extLst>
              <a:ext uri="{FF2B5EF4-FFF2-40B4-BE49-F238E27FC236}">
                <a16:creationId xmlns:a16="http://schemas.microsoft.com/office/drawing/2014/main" id="{DB87669D-0F2F-4512-8843-7AB0262034B9}"/>
              </a:ext>
            </a:extLst>
          </p:cNvPr>
          <p:cNvCxnSpPr>
            <a:cxnSpLocks/>
          </p:cNvCxnSpPr>
          <p:nvPr/>
        </p:nvCxnSpPr>
        <p:spPr>
          <a:xfrm>
            <a:off x="2338359" y="5570064"/>
            <a:ext cx="3832254" cy="89271"/>
          </a:xfrm>
          <a:prstGeom prst="straightConnector1">
            <a:avLst/>
          </a:prstGeom>
          <a:ln w="28575">
            <a:solidFill>
              <a:srgbClr val="8C195F"/>
            </a:solidFill>
            <a:tailEnd type="triangle" w="lg" len="lg"/>
          </a:ln>
        </p:spPr>
        <p:style>
          <a:lnRef idx="1">
            <a:schemeClr val="accent1"/>
          </a:lnRef>
          <a:fillRef idx="0">
            <a:schemeClr val="accent1"/>
          </a:fillRef>
          <a:effectRef idx="0">
            <a:schemeClr val="accent1"/>
          </a:effectRef>
          <a:fontRef idx="minor">
            <a:schemeClr val="tx1"/>
          </a:fontRef>
        </p:style>
      </p:cxnSp>
      <p:sp>
        <p:nvSpPr>
          <p:cNvPr id="29" name="Inhaltsplatzhalter 5">
            <a:extLst>
              <a:ext uri="{FF2B5EF4-FFF2-40B4-BE49-F238E27FC236}">
                <a16:creationId xmlns:a16="http://schemas.microsoft.com/office/drawing/2014/main" id="{9A22D2F3-9D1C-1F1B-6C53-1E8D6F0F74EB}"/>
              </a:ext>
            </a:extLst>
          </p:cNvPr>
          <p:cNvSpPr txBox="1">
            <a:spLocks/>
          </p:cNvSpPr>
          <p:nvPr/>
        </p:nvSpPr>
        <p:spPr>
          <a:xfrm>
            <a:off x="8458195" y="1341942"/>
            <a:ext cx="3731598" cy="5103132"/>
          </a:xfrm>
          <a:prstGeom prst="rect">
            <a:avLst/>
          </a:prstGeom>
        </p:spPr>
        <p:txBody>
          <a:bodyPr/>
          <a:lstStyle>
            <a:lvl1pPr marL="252000" indent="-252000" algn="l" defTabSz="609768" rtl="0" eaLnBrk="1" latinLnBrk="0" hangingPunct="1">
              <a:lnSpc>
                <a:spcPct val="110000"/>
              </a:lnSpc>
              <a:spcBef>
                <a:spcPts val="1200"/>
              </a:spcBef>
              <a:spcAft>
                <a:spcPts val="0"/>
              </a:spcAft>
              <a:buClr>
                <a:schemeClr val="tx2"/>
              </a:buClr>
              <a:buFont typeface="Arial" panose="020B0604020202020204" pitchFamily="34" charset="0"/>
              <a:buChar char="•"/>
              <a:defRPr sz="2000" kern="1200">
                <a:solidFill>
                  <a:schemeClr val="tx1"/>
                </a:solidFill>
                <a:latin typeface="+mn-lt"/>
                <a:ea typeface="+mn-ea"/>
                <a:cs typeface="+mn-cs"/>
              </a:defRPr>
            </a:lvl1pPr>
            <a:lvl2pPr marL="504000" indent="-252000" algn="l" defTabSz="609768" rtl="0" eaLnBrk="1" latinLnBrk="0" hangingPunct="1">
              <a:lnSpc>
                <a:spcPct val="110000"/>
              </a:lnSpc>
              <a:spcBef>
                <a:spcPts val="1200"/>
              </a:spcBef>
              <a:spcAft>
                <a:spcPts val="0"/>
              </a:spcAft>
              <a:buClr>
                <a:schemeClr val="tx1"/>
              </a:buClr>
              <a:buSzPct val="80000"/>
              <a:buFont typeface="Arial" panose="020B0604020202020204" pitchFamily="34" charset="0"/>
              <a:buChar char="•"/>
              <a:defRPr sz="1800" kern="1200">
                <a:solidFill>
                  <a:schemeClr val="tx1"/>
                </a:solidFill>
                <a:latin typeface="+mn-lt"/>
                <a:ea typeface="+mn-ea"/>
                <a:cs typeface="+mn-cs"/>
              </a:defRPr>
            </a:lvl2pPr>
            <a:lvl3pPr marL="756000" indent="-252000" algn="l" defTabSz="609768" rtl="0" eaLnBrk="1" latinLnBrk="0" hangingPunct="1">
              <a:lnSpc>
                <a:spcPct val="110000"/>
              </a:lnSpc>
              <a:spcBef>
                <a:spcPts val="1200"/>
              </a:spcBef>
              <a:spcAft>
                <a:spcPts val="0"/>
              </a:spcAft>
              <a:buSzPct val="90000"/>
              <a:buFont typeface="Symbol" panose="05050102010706020507" pitchFamily="18" charset="2"/>
              <a:buChar char="-"/>
              <a:defRPr sz="1600" kern="1200">
                <a:solidFill>
                  <a:schemeClr val="tx1"/>
                </a:solidFill>
                <a:latin typeface="+mn-lt"/>
                <a:ea typeface="+mn-ea"/>
                <a:cs typeface="+mn-cs"/>
              </a:defRPr>
            </a:lvl3pPr>
            <a:lvl4pPr marL="1008000" indent="-252000" algn="l" defTabSz="609768" rtl="0" eaLnBrk="1" latinLnBrk="0" hangingPunct="1">
              <a:lnSpc>
                <a:spcPct val="110000"/>
              </a:lnSpc>
              <a:spcBef>
                <a:spcPts val="1200"/>
              </a:spcBef>
              <a:spcAft>
                <a:spcPts val="0"/>
              </a:spcAft>
              <a:buFont typeface="Symbol" panose="05050102010706020507" pitchFamily="18" charset="2"/>
              <a:buChar char="-"/>
              <a:defRPr sz="1600" kern="1200">
                <a:solidFill>
                  <a:schemeClr val="tx1"/>
                </a:solidFill>
                <a:latin typeface="+mn-lt"/>
                <a:ea typeface="+mn-ea"/>
                <a:cs typeface="+mn-cs"/>
              </a:defRPr>
            </a:lvl4pPr>
            <a:lvl5pPr marL="1260000" marR="0" indent="-252000" algn="l" defTabSz="609768" rtl="0" eaLnBrk="1" fontAlgn="auto" latinLnBrk="0" hangingPunct="1">
              <a:lnSpc>
                <a:spcPct val="110000"/>
              </a:lnSpc>
              <a:spcBef>
                <a:spcPts val="1200"/>
              </a:spcBef>
              <a:spcAft>
                <a:spcPts val="0"/>
              </a:spcAft>
              <a:buClrTx/>
              <a:buSzTx/>
              <a:buFont typeface="Symbol" panose="05050102010706020507" pitchFamily="18" charset="2"/>
              <a:buChar char="-"/>
              <a:tabLst/>
              <a:defRPr sz="1600" kern="1200">
                <a:solidFill>
                  <a:schemeClr val="tx1"/>
                </a:solidFill>
                <a:latin typeface="+mn-lt"/>
                <a:ea typeface="+mn-ea"/>
                <a:cs typeface="+mn-cs"/>
              </a:defRPr>
            </a:lvl5pPr>
            <a:lvl6pPr marL="1512000" indent="-252000" algn="l" defTabSz="611188" rtl="0" eaLnBrk="1" latinLnBrk="0" hangingPunct="1">
              <a:lnSpc>
                <a:spcPct val="110000"/>
              </a:lnSpc>
              <a:spcBef>
                <a:spcPts val="1200"/>
              </a:spcBef>
              <a:spcAft>
                <a:spcPts val="0"/>
              </a:spcAft>
              <a:buFont typeface="Symbol" panose="05050102010706020507" pitchFamily="18" charset="2"/>
              <a:buChar char="-"/>
              <a:defRPr sz="1600" kern="1200" baseline="0">
                <a:solidFill>
                  <a:schemeClr val="tx1"/>
                </a:solidFill>
                <a:latin typeface="+mn-lt"/>
                <a:ea typeface="+mn-ea"/>
                <a:cs typeface="+mn-cs"/>
              </a:defRPr>
            </a:lvl6pPr>
            <a:lvl7pPr marL="1764000" indent="-252000" algn="l" defTabSz="609768" rtl="0" eaLnBrk="1" latinLnBrk="0" hangingPunct="1">
              <a:lnSpc>
                <a:spcPct val="110000"/>
              </a:lnSpc>
              <a:spcBef>
                <a:spcPts val="1200"/>
              </a:spcBef>
              <a:spcAft>
                <a:spcPts val="0"/>
              </a:spcAft>
              <a:buFont typeface="Symbol" panose="05050102010706020507" pitchFamily="18" charset="2"/>
              <a:buChar char="-"/>
              <a:defRPr sz="1600" kern="1200">
                <a:solidFill>
                  <a:schemeClr val="tx1"/>
                </a:solidFill>
                <a:latin typeface="+mn-lt"/>
                <a:ea typeface="+mn-ea"/>
                <a:cs typeface="+mn-cs"/>
              </a:defRPr>
            </a:lvl7pPr>
            <a:lvl8pPr marL="4573257" indent="-304884" algn="l" defTabSz="609768" rtl="0" eaLnBrk="1" latinLnBrk="0" hangingPunct="1">
              <a:spcBef>
                <a:spcPct val="20000"/>
              </a:spcBef>
              <a:buFont typeface="Arial"/>
              <a:buChar char="•"/>
              <a:defRPr sz="2700" kern="1200">
                <a:solidFill>
                  <a:schemeClr val="tx1"/>
                </a:solidFill>
                <a:latin typeface="+mn-lt"/>
                <a:ea typeface="+mn-ea"/>
                <a:cs typeface="+mn-cs"/>
              </a:defRPr>
            </a:lvl8pPr>
            <a:lvl9pPr marL="5183025" indent="-304884" algn="l" defTabSz="609768" rtl="0" eaLnBrk="1" latinLnBrk="0" hangingPunct="1">
              <a:spcBef>
                <a:spcPct val="20000"/>
              </a:spcBef>
              <a:buFont typeface="Arial"/>
              <a:buChar char="•"/>
              <a:defRPr sz="2700" kern="1200">
                <a:solidFill>
                  <a:schemeClr val="tx1"/>
                </a:solidFill>
                <a:latin typeface="+mn-lt"/>
                <a:ea typeface="+mn-ea"/>
                <a:cs typeface="+mn-cs"/>
              </a:defRPr>
            </a:lvl9pPr>
          </a:lstStyle>
          <a:p>
            <a:pPr>
              <a:lnSpc>
                <a:spcPct val="100000"/>
              </a:lnSpc>
            </a:pPr>
            <a:r>
              <a:rPr lang="de-CH" sz="1800" dirty="0"/>
              <a:t>Hazard: Sonne</a:t>
            </a:r>
          </a:p>
          <a:p>
            <a:pPr>
              <a:lnSpc>
                <a:spcPct val="100000"/>
              </a:lnSpc>
            </a:pPr>
            <a:r>
              <a:rPr lang="de-CH" sz="1800" dirty="0" err="1"/>
              <a:t>Sequence</a:t>
            </a:r>
            <a:r>
              <a:rPr lang="de-CH" sz="1800" dirty="0"/>
              <a:t>: UV-Strahlung</a:t>
            </a:r>
          </a:p>
          <a:p>
            <a:pPr>
              <a:lnSpc>
                <a:spcPct val="100000"/>
              </a:lnSpc>
            </a:pPr>
            <a:r>
              <a:rPr lang="de-CH" sz="1800" dirty="0"/>
              <a:t>Situation: Zur Mittagszeit an Sonne</a:t>
            </a:r>
          </a:p>
          <a:p>
            <a:pPr>
              <a:lnSpc>
                <a:spcPct val="100000"/>
              </a:lnSpc>
            </a:pPr>
            <a:r>
              <a:rPr lang="de-CH" sz="1800" dirty="0"/>
              <a:t>Harm: Sonnenbrand</a:t>
            </a:r>
          </a:p>
          <a:p>
            <a:pPr>
              <a:lnSpc>
                <a:spcPct val="100000"/>
              </a:lnSpc>
            </a:pPr>
            <a:r>
              <a:rPr lang="de-CH" sz="1800" b="1" dirty="0">
                <a:solidFill>
                  <a:srgbClr val="8C195F"/>
                </a:solidFill>
              </a:rPr>
              <a:t>Risikominderung:</a:t>
            </a:r>
          </a:p>
          <a:p>
            <a:pPr lvl="1">
              <a:lnSpc>
                <a:spcPct val="100000"/>
              </a:lnSpc>
            </a:pPr>
            <a:r>
              <a:rPr lang="de-CH" sz="1600" dirty="0">
                <a:solidFill>
                  <a:srgbClr val="D72864"/>
                </a:solidFill>
              </a:rPr>
              <a:t>By Design</a:t>
            </a:r>
          </a:p>
          <a:p>
            <a:pPr lvl="2">
              <a:lnSpc>
                <a:spcPct val="100000"/>
              </a:lnSpc>
            </a:pPr>
            <a:r>
              <a:rPr lang="de-CH" sz="1400" dirty="0"/>
              <a:t>Kein Zugang zum Strand</a:t>
            </a:r>
          </a:p>
          <a:p>
            <a:pPr lvl="1">
              <a:lnSpc>
                <a:spcPct val="100000"/>
              </a:lnSpc>
            </a:pPr>
            <a:r>
              <a:rPr lang="de-CH" sz="1600" dirty="0">
                <a:solidFill>
                  <a:srgbClr val="D72864"/>
                </a:solidFill>
              </a:rPr>
              <a:t>By </a:t>
            </a:r>
            <a:r>
              <a:rPr lang="de-CH" sz="1600" dirty="0" err="1">
                <a:solidFill>
                  <a:srgbClr val="D72864"/>
                </a:solidFill>
              </a:rPr>
              <a:t>Protection</a:t>
            </a:r>
            <a:endParaRPr lang="de-CH" sz="1600" dirty="0">
              <a:solidFill>
                <a:srgbClr val="D72864"/>
              </a:solidFill>
            </a:endParaRPr>
          </a:p>
          <a:p>
            <a:pPr lvl="2">
              <a:lnSpc>
                <a:spcPct val="100000"/>
              </a:lnSpc>
            </a:pPr>
            <a:r>
              <a:rPr lang="de-CH" sz="1400" dirty="0"/>
              <a:t>Sonnencreme, Schirm</a:t>
            </a:r>
          </a:p>
          <a:p>
            <a:pPr lvl="1">
              <a:lnSpc>
                <a:spcPct val="100000"/>
              </a:lnSpc>
            </a:pPr>
            <a:r>
              <a:rPr lang="de-CH" sz="1600" dirty="0">
                <a:solidFill>
                  <a:srgbClr val="D72864"/>
                </a:solidFill>
              </a:rPr>
              <a:t>By Information</a:t>
            </a:r>
          </a:p>
          <a:p>
            <a:pPr lvl="2">
              <a:lnSpc>
                <a:spcPct val="100000"/>
              </a:lnSpc>
            </a:pPr>
            <a:r>
              <a:rPr lang="de-CH" sz="1400" dirty="0"/>
              <a:t>Nicht um Mittagszeit, nicht länger wie X Minuten an Sonne</a:t>
            </a:r>
          </a:p>
        </p:txBody>
      </p:sp>
      <p:sp>
        <p:nvSpPr>
          <p:cNvPr id="33" name="Textplatzhalter 6">
            <a:extLst>
              <a:ext uri="{FF2B5EF4-FFF2-40B4-BE49-F238E27FC236}">
                <a16:creationId xmlns:a16="http://schemas.microsoft.com/office/drawing/2014/main" id="{3100CF17-8AA0-C21B-79BD-0A85CE957976}"/>
              </a:ext>
            </a:extLst>
          </p:cNvPr>
          <p:cNvSpPr txBox="1">
            <a:spLocks/>
          </p:cNvSpPr>
          <p:nvPr/>
        </p:nvSpPr>
        <p:spPr>
          <a:xfrm>
            <a:off x="806449" y="334039"/>
            <a:ext cx="11053764" cy="286673"/>
          </a:xfrm>
          <a:prstGeom prst="rect">
            <a:avLst/>
          </a:prstGeom>
        </p:spPr>
        <p:txBody>
          <a:bodyPr>
            <a:noAutofit/>
          </a:bodyPr>
          <a:lstStyle>
            <a:lvl1pPr marL="252000" indent="-252000" algn="l" defTabSz="609768" rtl="0" eaLnBrk="1" latinLnBrk="0" hangingPunct="1">
              <a:lnSpc>
                <a:spcPct val="110000"/>
              </a:lnSpc>
              <a:spcBef>
                <a:spcPts val="1200"/>
              </a:spcBef>
              <a:spcAft>
                <a:spcPts val="0"/>
              </a:spcAft>
              <a:buClr>
                <a:schemeClr val="tx2"/>
              </a:buClr>
              <a:buFont typeface="Arial" panose="020B0604020202020204" pitchFamily="34" charset="0"/>
              <a:buChar char="•"/>
              <a:defRPr sz="2000" kern="1200">
                <a:solidFill>
                  <a:schemeClr val="tx1"/>
                </a:solidFill>
                <a:latin typeface="+mn-lt"/>
                <a:ea typeface="+mn-ea"/>
                <a:cs typeface="+mn-cs"/>
              </a:defRPr>
            </a:lvl1pPr>
            <a:lvl2pPr marL="504000" indent="-252000" algn="l" defTabSz="609768" rtl="0" eaLnBrk="1" latinLnBrk="0" hangingPunct="1">
              <a:lnSpc>
                <a:spcPct val="110000"/>
              </a:lnSpc>
              <a:spcBef>
                <a:spcPts val="1200"/>
              </a:spcBef>
              <a:spcAft>
                <a:spcPts val="0"/>
              </a:spcAft>
              <a:buClr>
                <a:schemeClr val="tx1"/>
              </a:buClr>
              <a:buSzPct val="80000"/>
              <a:buFont typeface="Arial" panose="020B0604020202020204" pitchFamily="34" charset="0"/>
              <a:buChar char="•"/>
              <a:defRPr sz="1800" kern="1200">
                <a:solidFill>
                  <a:schemeClr val="tx1"/>
                </a:solidFill>
                <a:latin typeface="+mn-lt"/>
                <a:ea typeface="+mn-ea"/>
                <a:cs typeface="+mn-cs"/>
              </a:defRPr>
            </a:lvl2pPr>
            <a:lvl3pPr marL="756000" indent="-252000" algn="l" defTabSz="609768" rtl="0" eaLnBrk="1" latinLnBrk="0" hangingPunct="1">
              <a:lnSpc>
                <a:spcPct val="110000"/>
              </a:lnSpc>
              <a:spcBef>
                <a:spcPts val="1200"/>
              </a:spcBef>
              <a:spcAft>
                <a:spcPts val="0"/>
              </a:spcAft>
              <a:buSzPct val="90000"/>
              <a:buFont typeface="Symbol" panose="05050102010706020507" pitchFamily="18" charset="2"/>
              <a:buChar char="-"/>
              <a:defRPr sz="1600" kern="1200">
                <a:solidFill>
                  <a:schemeClr val="tx1"/>
                </a:solidFill>
                <a:latin typeface="+mn-lt"/>
                <a:ea typeface="+mn-ea"/>
                <a:cs typeface="+mn-cs"/>
              </a:defRPr>
            </a:lvl3pPr>
            <a:lvl4pPr marL="1008000" indent="-252000" algn="l" defTabSz="609768" rtl="0" eaLnBrk="1" latinLnBrk="0" hangingPunct="1">
              <a:lnSpc>
                <a:spcPct val="110000"/>
              </a:lnSpc>
              <a:spcBef>
                <a:spcPts val="1200"/>
              </a:spcBef>
              <a:spcAft>
                <a:spcPts val="0"/>
              </a:spcAft>
              <a:buFont typeface="Symbol" panose="05050102010706020507" pitchFamily="18" charset="2"/>
              <a:buChar char="-"/>
              <a:defRPr sz="1600" kern="1200">
                <a:solidFill>
                  <a:schemeClr val="tx1"/>
                </a:solidFill>
                <a:latin typeface="+mn-lt"/>
                <a:ea typeface="+mn-ea"/>
                <a:cs typeface="+mn-cs"/>
              </a:defRPr>
            </a:lvl4pPr>
            <a:lvl5pPr marL="1260000" marR="0" indent="-252000" algn="l" defTabSz="609768" rtl="0" eaLnBrk="1" fontAlgn="auto" latinLnBrk="0" hangingPunct="1">
              <a:lnSpc>
                <a:spcPct val="110000"/>
              </a:lnSpc>
              <a:spcBef>
                <a:spcPts val="1200"/>
              </a:spcBef>
              <a:spcAft>
                <a:spcPts val="0"/>
              </a:spcAft>
              <a:buClrTx/>
              <a:buSzTx/>
              <a:buFont typeface="Symbol" panose="05050102010706020507" pitchFamily="18" charset="2"/>
              <a:buChar char="-"/>
              <a:tabLst/>
              <a:defRPr sz="1600" kern="1200">
                <a:solidFill>
                  <a:schemeClr val="tx1"/>
                </a:solidFill>
                <a:latin typeface="+mn-lt"/>
                <a:ea typeface="+mn-ea"/>
                <a:cs typeface="+mn-cs"/>
              </a:defRPr>
            </a:lvl5pPr>
            <a:lvl6pPr marL="1512000" indent="-252000" algn="l" defTabSz="611188" rtl="0" eaLnBrk="1" latinLnBrk="0" hangingPunct="1">
              <a:lnSpc>
                <a:spcPct val="110000"/>
              </a:lnSpc>
              <a:spcBef>
                <a:spcPts val="1200"/>
              </a:spcBef>
              <a:spcAft>
                <a:spcPts val="0"/>
              </a:spcAft>
              <a:buFont typeface="Symbol" panose="05050102010706020507" pitchFamily="18" charset="2"/>
              <a:buChar char="-"/>
              <a:defRPr sz="1600" kern="1200" baseline="0">
                <a:solidFill>
                  <a:schemeClr val="tx1"/>
                </a:solidFill>
                <a:latin typeface="+mn-lt"/>
                <a:ea typeface="+mn-ea"/>
                <a:cs typeface="+mn-cs"/>
              </a:defRPr>
            </a:lvl6pPr>
            <a:lvl7pPr marL="1764000" indent="-252000" algn="l" defTabSz="609768" rtl="0" eaLnBrk="1" latinLnBrk="0" hangingPunct="1">
              <a:lnSpc>
                <a:spcPct val="110000"/>
              </a:lnSpc>
              <a:spcBef>
                <a:spcPts val="1200"/>
              </a:spcBef>
              <a:spcAft>
                <a:spcPts val="0"/>
              </a:spcAft>
              <a:buFont typeface="Symbol" panose="05050102010706020507" pitchFamily="18" charset="2"/>
              <a:buChar char="-"/>
              <a:defRPr sz="1600" kern="1200">
                <a:solidFill>
                  <a:schemeClr val="tx1"/>
                </a:solidFill>
                <a:latin typeface="+mn-lt"/>
                <a:ea typeface="+mn-ea"/>
                <a:cs typeface="+mn-cs"/>
              </a:defRPr>
            </a:lvl7pPr>
            <a:lvl8pPr marL="4573257" indent="-304884" algn="l" defTabSz="609768" rtl="0" eaLnBrk="1" latinLnBrk="0" hangingPunct="1">
              <a:spcBef>
                <a:spcPct val="20000"/>
              </a:spcBef>
              <a:buFont typeface="Arial"/>
              <a:buChar char="•"/>
              <a:defRPr sz="2700" kern="1200">
                <a:solidFill>
                  <a:schemeClr val="tx1"/>
                </a:solidFill>
                <a:latin typeface="+mn-lt"/>
                <a:ea typeface="+mn-ea"/>
                <a:cs typeface="+mn-cs"/>
              </a:defRPr>
            </a:lvl8pPr>
            <a:lvl9pPr marL="5183025" indent="-304884" algn="l" defTabSz="609768" rtl="0" eaLnBrk="1" latinLnBrk="0" hangingPunct="1">
              <a:spcBef>
                <a:spcPct val="20000"/>
              </a:spcBef>
              <a:buFont typeface="Arial"/>
              <a:buChar char="•"/>
              <a:defRPr sz="2700" kern="1200">
                <a:solidFill>
                  <a:schemeClr val="tx1"/>
                </a:solidFill>
                <a:latin typeface="+mn-lt"/>
                <a:ea typeface="+mn-ea"/>
                <a:cs typeface="+mn-cs"/>
              </a:defRPr>
            </a:lvl9pPr>
          </a:lstStyle>
          <a:p>
            <a:pPr marL="0" indent="0">
              <a:buNone/>
            </a:pPr>
            <a:r>
              <a:rPr lang="de-CH" sz="1900" b="1" dirty="0"/>
              <a:t>Risikomanagement</a:t>
            </a:r>
          </a:p>
        </p:txBody>
      </p:sp>
    </p:spTree>
    <p:extLst>
      <p:ext uri="{BB962C8B-B14F-4D97-AF65-F5344CB8AC3E}">
        <p14:creationId xmlns:p14="http://schemas.microsoft.com/office/powerpoint/2010/main" val="20211970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2B38055-B2DA-67CD-A590-FAB1C9E1DBB4}"/>
              </a:ext>
            </a:extLst>
          </p:cNvPr>
          <p:cNvGraphicFramePr>
            <a:graphicFrameLocks noChangeAspect="1"/>
          </p:cNvGraphicFramePr>
          <p:nvPr>
            <p:custDataLst>
              <p:tags r:id="rId1"/>
            </p:custDataLst>
            <p:extLst>
              <p:ext uri="{D42A27DB-BD31-4B8C-83A1-F6EECF244321}">
                <p14:modId xmlns:p14="http://schemas.microsoft.com/office/powerpoint/2010/main" val="1175173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8" name="think-cell data - do not delete" hidden="1">
                        <a:extLst>
                          <a:ext uri="{FF2B5EF4-FFF2-40B4-BE49-F238E27FC236}">
                            <a16:creationId xmlns:a16="http://schemas.microsoft.com/office/drawing/2014/main" id="{C2B38055-B2DA-67CD-A590-FAB1C9E1DB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FA7AAFC1-9717-183D-3D22-AC72D666C383}"/>
              </a:ext>
            </a:extLst>
          </p:cNvPr>
          <p:cNvSpPr>
            <a:spLocks noGrp="1"/>
          </p:cNvSpPr>
          <p:nvPr>
            <p:ph type="dt" sz="half" idx="16"/>
          </p:nvPr>
        </p:nvSpPr>
        <p:spPr/>
        <p:txBody>
          <a:bodyPr/>
          <a:lstStyle/>
          <a:p>
            <a:fld id="{E745B732-62EC-47E3-A88B-3E0F6766139C}" type="datetime4">
              <a:rPr lang="de-CH" smtClean="0"/>
              <a:t>26. September 2023</a:t>
            </a:fld>
            <a:endParaRPr lang="de-CH" dirty="0"/>
          </a:p>
        </p:txBody>
      </p:sp>
      <p:sp>
        <p:nvSpPr>
          <p:cNvPr id="3" name="Fußzeilenplatzhalter 2">
            <a:extLst>
              <a:ext uri="{FF2B5EF4-FFF2-40B4-BE49-F238E27FC236}">
                <a16:creationId xmlns:a16="http://schemas.microsoft.com/office/drawing/2014/main" id="{F4E27699-7395-CF13-A09E-7BDDA5E093BB}"/>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8A36DCE0-FCE2-F99E-18BB-6732A089EB4A}"/>
              </a:ext>
            </a:extLst>
          </p:cNvPr>
          <p:cNvSpPr>
            <a:spLocks noGrp="1"/>
          </p:cNvSpPr>
          <p:nvPr>
            <p:ph type="sldNum" sz="quarter" idx="18"/>
          </p:nvPr>
        </p:nvSpPr>
        <p:spPr/>
        <p:txBody>
          <a:bodyPr/>
          <a:lstStyle/>
          <a:p>
            <a:fld id="{4EAC321B-7500-4259-A00F-915439A35E15}" type="slidenum">
              <a:rPr lang="de-CH" smtClean="0"/>
              <a:pPr/>
              <a:t>37</a:t>
            </a:fld>
            <a:endParaRPr lang="de-CH" dirty="0"/>
          </a:p>
        </p:txBody>
      </p:sp>
      <p:sp>
        <p:nvSpPr>
          <p:cNvPr id="5" name="Titel 4">
            <a:extLst>
              <a:ext uri="{FF2B5EF4-FFF2-40B4-BE49-F238E27FC236}">
                <a16:creationId xmlns:a16="http://schemas.microsoft.com/office/drawing/2014/main" id="{BD8BB989-D523-5C7C-DB91-D7B452564D65}"/>
              </a:ext>
            </a:extLst>
          </p:cNvPr>
          <p:cNvSpPr>
            <a:spLocks noGrp="1"/>
          </p:cNvSpPr>
          <p:nvPr>
            <p:ph type="title"/>
          </p:nvPr>
        </p:nvSpPr>
        <p:spPr/>
        <p:txBody>
          <a:bodyPr vert="horz"/>
          <a:lstStyle/>
          <a:p>
            <a:r>
              <a:rPr lang="de-CH" dirty="0"/>
              <a:t>Methodik zur Risikominimierung: FMEA</a:t>
            </a:r>
          </a:p>
        </p:txBody>
      </p:sp>
      <p:sp>
        <p:nvSpPr>
          <p:cNvPr id="6" name="Inhaltsplatzhalter 5">
            <a:extLst>
              <a:ext uri="{FF2B5EF4-FFF2-40B4-BE49-F238E27FC236}">
                <a16:creationId xmlns:a16="http://schemas.microsoft.com/office/drawing/2014/main" id="{DA39E1C6-DBF2-1069-35CE-8968DA88A1F8}"/>
              </a:ext>
            </a:extLst>
          </p:cNvPr>
          <p:cNvSpPr>
            <a:spLocks noGrp="1"/>
          </p:cNvSpPr>
          <p:nvPr>
            <p:ph sz="quarter" idx="21"/>
          </p:nvPr>
        </p:nvSpPr>
        <p:spPr/>
        <p:txBody>
          <a:bodyPr>
            <a:normAutofit fontScale="85000" lnSpcReduction="20000"/>
          </a:bodyPr>
          <a:lstStyle/>
          <a:p>
            <a:pPr marL="0" indent="0">
              <a:buNone/>
            </a:pPr>
            <a:r>
              <a:rPr lang="de-CH" dirty="0"/>
              <a:t>Die FMEA-Methode (Fehlermöglichkeits- und Einflussanalyse) ist eine systematische Herangehensweise, um mögliche Probleme oder Fehler in Produkten, Prozessen oder Systemen frühzeitig zu erkennen, zu bewerten und Gegenmassnahmen zu ergreifen.</a:t>
            </a:r>
          </a:p>
          <a:p>
            <a:pPr marL="0" indent="0">
              <a:buNone/>
            </a:pPr>
            <a:r>
              <a:rPr lang="de-CH" dirty="0"/>
              <a:t>Grober Ablauf der Methode:</a:t>
            </a:r>
          </a:p>
          <a:p>
            <a:pPr marL="457200" indent="-457200">
              <a:buFont typeface="+mj-lt"/>
              <a:buAutoNum type="arabicPeriod"/>
            </a:pPr>
            <a:r>
              <a:rPr lang="de-CH" b="1" dirty="0"/>
              <a:t>Identifikation von Risiken</a:t>
            </a:r>
            <a:r>
              <a:rPr lang="de-CH" dirty="0"/>
              <a:t>: Denken Sie darüber nach, was im Betrieb oder der Anwendung des Produktes schiefgehen könnte, wie z.B. Fehler, Störungen, Fehlmanipulationen die auftreten könnten.</a:t>
            </a:r>
          </a:p>
          <a:p>
            <a:pPr marL="457200" indent="-457200">
              <a:buFont typeface="+mj-lt"/>
              <a:buAutoNum type="arabicPeriod"/>
            </a:pPr>
            <a:r>
              <a:rPr lang="de-CH" b="1" dirty="0"/>
              <a:t>Bewertung der Risiken</a:t>
            </a:r>
            <a:r>
              <a:rPr lang="de-CH" dirty="0"/>
              <a:t>: Bewerten sie diese möglichen Probleme nach zwei Hauptkriterien: Wie wahrscheinlich ist es, dass der Fehler auftritt, und wie schwerwiegend wären die Folgen, wenn er passiert? Das hilft, die Risiken zu priorisieren. </a:t>
            </a:r>
            <a:r>
              <a:rPr lang="de-CH" b="1" dirty="0">
                <a:solidFill>
                  <a:srgbClr val="8C195F"/>
                </a:solidFill>
              </a:rPr>
              <a:t>Risiko = Eintrittswahrscheinlichkeit x Schadensausmass</a:t>
            </a:r>
          </a:p>
          <a:p>
            <a:pPr marL="457200" indent="-457200">
              <a:buFont typeface="+mj-lt"/>
              <a:buAutoNum type="arabicPeriod"/>
            </a:pPr>
            <a:r>
              <a:rPr lang="de-CH" b="1" dirty="0"/>
              <a:t>Massnahmen ergreifen</a:t>
            </a:r>
            <a:r>
              <a:rPr lang="de-CH" dirty="0"/>
              <a:t>: Basierend auf dieser Bewertung entscheiden Sie, welche Schritte unternommen werden sollten, um die Wahrscheinlichkeit oder die Folgen von Fehlern zu reduzieren. Das können Designänderungen, bessere Kontrollen oder andere Verbesserungen sein. Das Restrisiko muss in einem akzeptablen Bereich resultieren.</a:t>
            </a:r>
          </a:p>
          <a:p>
            <a:pPr marL="457200" indent="-457200">
              <a:buFont typeface="+mj-lt"/>
              <a:buAutoNum type="arabicPeriod"/>
            </a:pPr>
            <a:r>
              <a:rPr lang="de-CH" b="1" dirty="0"/>
              <a:t>Überwachung und Kontrolle</a:t>
            </a:r>
            <a:r>
              <a:rPr lang="de-CH" dirty="0"/>
              <a:t>: Schließlich ist es wichtig, die Wirksamkeit dieser Maßnahmen zu überwachen und sicherzustellen, dass sie funktionieren. Wenn neue Informationen auftauchen oder sich Bedingungen ändern, sollte die FMEA aktualisiert werden.</a:t>
            </a:r>
          </a:p>
          <a:p>
            <a:endParaRPr lang="de-CH" dirty="0"/>
          </a:p>
        </p:txBody>
      </p:sp>
      <p:sp>
        <p:nvSpPr>
          <p:cNvPr id="7" name="Textplatzhalter 6">
            <a:extLst>
              <a:ext uri="{FF2B5EF4-FFF2-40B4-BE49-F238E27FC236}">
                <a16:creationId xmlns:a16="http://schemas.microsoft.com/office/drawing/2014/main" id="{C81390D3-21F0-DE83-5CAD-9BCC68E3C7CA}"/>
              </a:ext>
            </a:extLst>
          </p:cNvPr>
          <p:cNvSpPr>
            <a:spLocks noGrp="1"/>
          </p:cNvSpPr>
          <p:nvPr>
            <p:ph type="body" sz="quarter" idx="24"/>
          </p:nvPr>
        </p:nvSpPr>
        <p:spPr/>
        <p:txBody>
          <a:bodyPr>
            <a:normAutofit fontScale="92500" lnSpcReduction="20000"/>
          </a:bodyPr>
          <a:lstStyle/>
          <a:p>
            <a:r>
              <a:rPr lang="de-CH" dirty="0"/>
              <a:t>Risikomanagement</a:t>
            </a:r>
          </a:p>
        </p:txBody>
      </p:sp>
    </p:spTree>
    <p:extLst>
      <p:ext uri="{BB962C8B-B14F-4D97-AF65-F5344CB8AC3E}">
        <p14:creationId xmlns:p14="http://schemas.microsoft.com/office/powerpoint/2010/main" val="22372894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4F2C167-B0BD-6B82-9EC2-F96BDFCD610F}"/>
              </a:ext>
            </a:extLst>
          </p:cNvPr>
          <p:cNvGraphicFramePr>
            <a:graphicFrameLocks noChangeAspect="1"/>
          </p:cNvGraphicFramePr>
          <p:nvPr>
            <p:custDataLst>
              <p:tags r:id="rId1"/>
            </p:custDataLst>
            <p:extLst>
              <p:ext uri="{D42A27DB-BD31-4B8C-83A1-F6EECF244321}">
                <p14:modId xmlns:p14="http://schemas.microsoft.com/office/powerpoint/2010/main" val="926348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9" name="think-cell data - do not delete" hidden="1">
                        <a:extLst>
                          <a:ext uri="{FF2B5EF4-FFF2-40B4-BE49-F238E27FC236}">
                            <a16:creationId xmlns:a16="http://schemas.microsoft.com/office/drawing/2014/main" id="{14F2C167-B0BD-6B82-9EC2-F96BDFCD6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C6B3A4B1-D3AE-155B-C9B2-94C43F29F636}"/>
              </a:ext>
            </a:extLst>
          </p:cNvPr>
          <p:cNvSpPr>
            <a:spLocks noGrp="1"/>
          </p:cNvSpPr>
          <p:nvPr>
            <p:ph type="dt" sz="half" idx="16"/>
          </p:nvPr>
        </p:nvSpPr>
        <p:spPr/>
        <p:txBody>
          <a:bodyPr/>
          <a:lstStyle/>
          <a:p>
            <a:fld id="{80C9161A-D2E3-4479-8BC8-9F316F438BF6}" type="datetime4">
              <a:rPr lang="de-CH" smtClean="0"/>
              <a:t>26. September 2023</a:t>
            </a:fld>
            <a:endParaRPr lang="de-CH" dirty="0"/>
          </a:p>
        </p:txBody>
      </p:sp>
      <p:sp>
        <p:nvSpPr>
          <p:cNvPr id="3" name="Fußzeilenplatzhalter 2">
            <a:extLst>
              <a:ext uri="{FF2B5EF4-FFF2-40B4-BE49-F238E27FC236}">
                <a16:creationId xmlns:a16="http://schemas.microsoft.com/office/drawing/2014/main" id="{98DFAB35-0D35-4AE6-E56E-6CA86D252064}"/>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3802461F-A7A1-BEA1-A948-F9FE8EC86340}"/>
              </a:ext>
            </a:extLst>
          </p:cNvPr>
          <p:cNvSpPr>
            <a:spLocks noGrp="1"/>
          </p:cNvSpPr>
          <p:nvPr>
            <p:ph type="sldNum" sz="quarter" idx="18"/>
          </p:nvPr>
        </p:nvSpPr>
        <p:spPr/>
        <p:txBody>
          <a:bodyPr/>
          <a:lstStyle/>
          <a:p>
            <a:fld id="{4EAC321B-7500-4259-A00F-915439A35E15}" type="slidenum">
              <a:rPr lang="de-CH" smtClean="0"/>
              <a:pPr/>
              <a:t>38</a:t>
            </a:fld>
            <a:endParaRPr lang="de-CH" dirty="0"/>
          </a:p>
        </p:txBody>
      </p:sp>
      <p:sp>
        <p:nvSpPr>
          <p:cNvPr id="5" name="Titel 4">
            <a:extLst>
              <a:ext uri="{FF2B5EF4-FFF2-40B4-BE49-F238E27FC236}">
                <a16:creationId xmlns:a16="http://schemas.microsoft.com/office/drawing/2014/main" id="{B9F1D3C5-2728-7A05-9515-4B3465508175}"/>
              </a:ext>
            </a:extLst>
          </p:cNvPr>
          <p:cNvSpPr>
            <a:spLocks noGrp="1"/>
          </p:cNvSpPr>
          <p:nvPr>
            <p:ph type="title"/>
          </p:nvPr>
        </p:nvSpPr>
        <p:spPr/>
        <p:txBody>
          <a:bodyPr vert="horz"/>
          <a:lstStyle/>
          <a:p>
            <a:r>
              <a:rPr lang="de-CH" dirty="0"/>
              <a:t>Anwendungsbeispiel der FMEA</a:t>
            </a:r>
          </a:p>
        </p:txBody>
      </p:sp>
      <p:sp>
        <p:nvSpPr>
          <p:cNvPr id="6" name="Inhaltsplatzhalter 5">
            <a:extLst>
              <a:ext uri="{FF2B5EF4-FFF2-40B4-BE49-F238E27FC236}">
                <a16:creationId xmlns:a16="http://schemas.microsoft.com/office/drawing/2014/main" id="{033FC4A7-2772-F537-2983-C5323C89E84D}"/>
              </a:ext>
            </a:extLst>
          </p:cNvPr>
          <p:cNvSpPr>
            <a:spLocks noGrp="1"/>
          </p:cNvSpPr>
          <p:nvPr>
            <p:ph sz="quarter" idx="21"/>
          </p:nvPr>
        </p:nvSpPr>
        <p:spPr/>
        <p:txBody>
          <a:bodyPr/>
          <a:lstStyle/>
          <a:p>
            <a:endParaRPr lang="de-CH" dirty="0"/>
          </a:p>
        </p:txBody>
      </p:sp>
      <p:sp>
        <p:nvSpPr>
          <p:cNvPr id="7" name="Textplatzhalter 6">
            <a:extLst>
              <a:ext uri="{FF2B5EF4-FFF2-40B4-BE49-F238E27FC236}">
                <a16:creationId xmlns:a16="http://schemas.microsoft.com/office/drawing/2014/main" id="{3A3DEFD3-08D8-FEB8-7D26-741CEF80BE0D}"/>
              </a:ext>
            </a:extLst>
          </p:cNvPr>
          <p:cNvSpPr>
            <a:spLocks noGrp="1"/>
          </p:cNvSpPr>
          <p:nvPr>
            <p:ph type="body" sz="quarter" idx="24"/>
          </p:nvPr>
        </p:nvSpPr>
        <p:spPr/>
        <p:txBody>
          <a:bodyPr>
            <a:normAutofit fontScale="92500" lnSpcReduction="20000"/>
          </a:bodyPr>
          <a:lstStyle/>
          <a:p>
            <a:endParaRPr lang="de-CH"/>
          </a:p>
        </p:txBody>
      </p:sp>
      <p:pic>
        <p:nvPicPr>
          <p:cNvPr id="13" name="Grafik 12">
            <a:extLst>
              <a:ext uri="{FF2B5EF4-FFF2-40B4-BE49-F238E27FC236}">
                <a16:creationId xmlns:a16="http://schemas.microsoft.com/office/drawing/2014/main" id="{3BB4842D-E1C7-1F64-863D-E8CF0620FFCA}"/>
              </a:ext>
            </a:extLst>
          </p:cNvPr>
          <p:cNvPicPr>
            <a:picLocks noChangeAspect="1"/>
          </p:cNvPicPr>
          <p:nvPr/>
        </p:nvPicPr>
        <p:blipFill>
          <a:blip r:embed="rId5"/>
          <a:stretch>
            <a:fillRect/>
          </a:stretch>
        </p:blipFill>
        <p:spPr>
          <a:xfrm>
            <a:off x="3176" y="1856176"/>
            <a:ext cx="12198350" cy="2948044"/>
          </a:xfrm>
          <a:prstGeom prst="rect">
            <a:avLst/>
          </a:prstGeom>
        </p:spPr>
      </p:pic>
    </p:spTree>
    <p:extLst>
      <p:ext uri="{BB962C8B-B14F-4D97-AF65-F5344CB8AC3E}">
        <p14:creationId xmlns:p14="http://schemas.microsoft.com/office/powerpoint/2010/main" val="1675317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2B38055-B2DA-67CD-A590-FAB1C9E1DBB4}"/>
              </a:ext>
            </a:extLst>
          </p:cNvPr>
          <p:cNvGraphicFramePr>
            <a:graphicFrameLocks noChangeAspect="1"/>
          </p:cNvGraphicFramePr>
          <p:nvPr>
            <p:custDataLst>
              <p:tags r:id="rId1"/>
            </p:custDataLst>
            <p:extLst>
              <p:ext uri="{D42A27DB-BD31-4B8C-83A1-F6EECF244321}">
                <p14:modId xmlns:p14="http://schemas.microsoft.com/office/powerpoint/2010/main" val="1438176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8" name="think-cell data - do not delete" hidden="1">
                        <a:extLst>
                          <a:ext uri="{FF2B5EF4-FFF2-40B4-BE49-F238E27FC236}">
                            <a16:creationId xmlns:a16="http://schemas.microsoft.com/office/drawing/2014/main" id="{C2B38055-B2DA-67CD-A590-FAB1C9E1DB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FA7AAFC1-9717-183D-3D22-AC72D666C383}"/>
              </a:ext>
            </a:extLst>
          </p:cNvPr>
          <p:cNvSpPr>
            <a:spLocks noGrp="1"/>
          </p:cNvSpPr>
          <p:nvPr>
            <p:ph type="dt" sz="half" idx="16"/>
          </p:nvPr>
        </p:nvSpPr>
        <p:spPr/>
        <p:txBody>
          <a:bodyPr/>
          <a:lstStyle/>
          <a:p>
            <a:fld id="{E745B732-62EC-47E3-A88B-3E0F6766139C}" type="datetime4">
              <a:rPr lang="de-CH" smtClean="0"/>
              <a:t>26. September 2023</a:t>
            </a:fld>
            <a:endParaRPr lang="de-CH" dirty="0"/>
          </a:p>
        </p:txBody>
      </p:sp>
      <p:sp>
        <p:nvSpPr>
          <p:cNvPr id="3" name="Fußzeilenplatzhalter 2">
            <a:extLst>
              <a:ext uri="{FF2B5EF4-FFF2-40B4-BE49-F238E27FC236}">
                <a16:creationId xmlns:a16="http://schemas.microsoft.com/office/drawing/2014/main" id="{F4E27699-7395-CF13-A09E-7BDDA5E093BB}"/>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8A36DCE0-FCE2-F99E-18BB-6732A089EB4A}"/>
              </a:ext>
            </a:extLst>
          </p:cNvPr>
          <p:cNvSpPr>
            <a:spLocks noGrp="1"/>
          </p:cNvSpPr>
          <p:nvPr>
            <p:ph type="sldNum" sz="quarter" idx="18"/>
          </p:nvPr>
        </p:nvSpPr>
        <p:spPr/>
        <p:txBody>
          <a:bodyPr/>
          <a:lstStyle/>
          <a:p>
            <a:fld id="{4EAC321B-7500-4259-A00F-915439A35E15}" type="slidenum">
              <a:rPr lang="de-CH" smtClean="0"/>
              <a:pPr/>
              <a:t>39</a:t>
            </a:fld>
            <a:endParaRPr lang="de-CH" dirty="0"/>
          </a:p>
        </p:txBody>
      </p:sp>
      <p:sp>
        <p:nvSpPr>
          <p:cNvPr id="5" name="Titel 4">
            <a:extLst>
              <a:ext uri="{FF2B5EF4-FFF2-40B4-BE49-F238E27FC236}">
                <a16:creationId xmlns:a16="http://schemas.microsoft.com/office/drawing/2014/main" id="{BD8BB989-D523-5C7C-DB91-D7B452564D65}"/>
              </a:ext>
            </a:extLst>
          </p:cNvPr>
          <p:cNvSpPr>
            <a:spLocks noGrp="1"/>
          </p:cNvSpPr>
          <p:nvPr>
            <p:ph type="title"/>
          </p:nvPr>
        </p:nvSpPr>
        <p:spPr/>
        <p:txBody>
          <a:bodyPr vert="horz"/>
          <a:lstStyle/>
          <a:p>
            <a:r>
              <a:rPr lang="de-CH" dirty="0"/>
              <a:t>Ishikawa-Diagramm</a:t>
            </a:r>
          </a:p>
        </p:txBody>
      </p:sp>
      <p:sp>
        <p:nvSpPr>
          <p:cNvPr id="6" name="Inhaltsplatzhalter 5">
            <a:extLst>
              <a:ext uri="{FF2B5EF4-FFF2-40B4-BE49-F238E27FC236}">
                <a16:creationId xmlns:a16="http://schemas.microsoft.com/office/drawing/2014/main" id="{DA39E1C6-DBF2-1069-35CE-8968DA88A1F8}"/>
              </a:ext>
            </a:extLst>
          </p:cNvPr>
          <p:cNvSpPr>
            <a:spLocks noGrp="1"/>
          </p:cNvSpPr>
          <p:nvPr>
            <p:ph sz="quarter" idx="21"/>
          </p:nvPr>
        </p:nvSpPr>
        <p:spPr/>
        <p:txBody>
          <a:bodyPr/>
          <a:lstStyle/>
          <a:p>
            <a:r>
              <a:rPr lang="de-CH" dirty="0"/>
              <a:t>Das Ishikawa-Diagramm, auch bekannt als Fischgräten-Diagramm oder Ursache-Wirkungs-Diagramm, ist eine einfache grafische Darstellung, die verwendet wird, um die möglichen Ursachen für ein bereits aufgetretenes Problem zu identifizieren.</a:t>
            </a:r>
          </a:p>
          <a:p>
            <a:r>
              <a:rPr lang="de-CH" dirty="0"/>
              <a:t>Probleme können oft aus verschiedenen Ursachen entstehen. Brainstorme mit deinem Team oder deiner Gruppe, um mögliche Ursachen in jeder Kategorie zu finden:</a:t>
            </a:r>
          </a:p>
        </p:txBody>
      </p:sp>
      <p:sp>
        <p:nvSpPr>
          <p:cNvPr id="7" name="Textplatzhalter 6">
            <a:extLst>
              <a:ext uri="{FF2B5EF4-FFF2-40B4-BE49-F238E27FC236}">
                <a16:creationId xmlns:a16="http://schemas.microsoft.com/office/drawing/2014/main" id="{C81390D3-21F0-DE83-5CAD-9BCC68E3C7CA}"/>
              </a:ext>
            </a:extLst>
          </p:cNvPr>
          <p:cNvSpPr>
            <a:spLocks noGrp="1"/>
          </p:cNvSpPr>
          <p:nvPr>
            <p:ph type="body" sz="quarter" idx="24"/>
          </p:nvPr>
        </p:nvSpPr>
        <p:spPr/>
        <p:txBody>
          <a:bodyPr>
            <a:normAutofit fontScale="92500" lnSpcReduction="20000"/>
          </a:bodyPr>
          <a:lstStyle/>
          <a:p>
            <a:r>
              <a:rPr lang="de-CH" dirty="0"/>
              <a:t>Risikomanagement</a:t>
            </a:r>
          </a:p>
        </p:txBody>
      </p:sp>
      <p:sp>
        <p:nvSpPr>
          <p:cNvPr id="10" name="Rechteck 9">
            <a:extLst>
              <a:ext uri="{FF2B5EF4-FFF2-40B4-BE49-F238E27FC236}">
                <a16:creationId xmlns:a16="http://schemas.microsoft.com/office/drawing/2014/main" id="{3640C88A-F026-A7D8-4A3D-1D16E5F78AE6}"/>
              </a:ext>
            </a:extLst>
          </p:cNvPr>
          <p:cNvSpPr/>
          <p:nvPr/>
        </p:nvSpPr>
        <p:spPr>
          <a:xfrm>
            <a:off x="6333330" y="6395560"/>
            <a:ext cx="1825149" cy="332662"/>
          </a:xfrm>
          <a:prstGeom prst="rect">
            <a:avLst/>
          </a:prstGeom>
          <a:solidFill>
            <a:schemeClr val="bg1"/>
          </a:solidFill>
          <a:ln w="25400">
            <a:noFill/>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08000" tIns="36000" rIns="108000" bIns="36000" numCol="1" spcCol="0" rtlCol="0" fromWordArt="0" anchor="ctr" anchorCtr="0" forceAA="0" compatLnSpc="1">
            <a:prstTxWarp prst="textNoShape">
              <a:avLst/>
            </a:prstTxWarp>
            <a:normAutofit fontScale="77500" lnSpcReduction="20000"/>
          </a:bodyPr>
          <a:lstStyle/>
          <a:p>
            <a:pPr algn="ctr">
              <a:lnSpc>
                <a:spcPct val="110000"/>
              </a:lnSpc>
              <a:spcAft>
                <a:spcPts val="600"/>
              </a:spcAft>
            </a:pPr>
            <a:endParaRPr lang="de-CH" dirty="0"/>
          </a:p>
        </p:txBody>
      </p:sp>
      <p:pic>
        <p:nvPicPr>
          <p:cNvPr id="6146" name="Picture 2" descr="undefined">
            <a:extLst>
              <a:ext uri="{FF2B5EF4-FFF2-40B4-BE49-F238E27FC236}">
                <a16:creationId xmlns:a16="http://schemas.microsoft.com/office/drawing/2014/main" id="{A4E5366D-F3C2-3E9A-F5B5-415836B4B07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85987" y="3259095"/>
            <a:ext cx="6076761" cy="37411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72848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9E9C736-B4FA-FA18-6AC5-4A830E301591}"/>
              </a:ext>
            </a:extLst>
          </p:cNvPr>
          <p:cNvGraphicFramePr>
            <a:graphicFrameLocks noChangeAspect="1"/>
          </p:cNvGraphicFramePr>
          <p:nvPr>
            <p:custDataLst>
              <p:tags r:id="rId1"/>
            </p:custDataLst>
            <p:extLst>
              <p:ext uri="{D42A27DB-BD31-4B8C-83A1-F6EECF244321}">
                <p14:modId xmlns:p14="http://schemas.microsoft.com/office/powerpoint/2010/main" val="1746649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9" name="think-cell data - do not delete" hidden="1">
                        <a:extLst>
                          <a:ext uri="{FF2B5EF4-FFF2-40B4-BE49-F238E27FC236}">
                            <a16:creationId xmlns:a16="http://schemas.microsoft.com/office/drawing/2014/main" id="{79E9C736-B4FA-FA18-6AC5-4A830E3015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ACF8A616-86DA-120B-B3F0-689F0610EAE5}"/>
              </a:ext>
            </a:extLst>
          </p:cNvPr>
          <p:cNvSpPr>
            <a:spLocks noGrp="1"/>
          </p:cNvSpPr>
          <p:nvPr>
            <p:ph type="dt" sz="half" idx="16"/>
          </p:nvPr>
        </p:nvSpPr>
        <p:spPr/>
        <p:txBody>
          <a:bodyPr/>
          <a:lstStyle/>
          <a:p>
            <a:fld id="{BBC081D8-8AF2-47AB-8249-ADA0FB607785}" type="datetime4">
              <a:rPr lang="de-CH" smtClean="0"/>
              <a:t>26. September 2023</a:t>
            </a:fld>
            <a:endParaRPr lang="de-CH" dirty="0"/>
          </a:p>
        </p:txBody>
      </p:sp>
      <p:sp>
        <p:nvSpPr>
          <p:cNvPr id="3" name="Fußzeilenplatzhalter 2">
            <a:extLst>
              <a:ext uri="{FF2B5EF4-FFF2-40B4-BE49-F238E27FC236}">
                <a16:creationId xmlns:a16="http://schemas.microsoft.com/office/drawing/2014/main" id="{A8702C32-851B-6867-12AA-7682F447E6F7}"/>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946E6F04-6B2F-D5EF-72D2-59C38B075894}"/>
              </a:ext>
            </a:extLst>
          </p:cNvPr>
          <p:cNvSpPr>
            <a:spLocks noGrp="1"/>
          </p:cNvSpPr>
          <p:nvPr>
            <p:ph type="sldNum" sz="quarter" idx="18"/>
          </p:nvPr>
        </p:nvSpPr>
        <p:spPr/>
        <p:txBody>
          <a:bodyPr/>
          <a:lstStyle/>
          <a:p>
            <a:fld id="{4EAC321B-7500-4259-A00F-915439A35E15}" type="slidenum">
              <a:rPr lang="de-CH" smtClean="0"/>
              <a:pPr/>
              <a:t>4</a:t>
            </a:fld>
            <a:endParaRPr lang="de-CH" dirty="0"/>
          </a:p>
        </p:txBody>
      </p:sp>
      <p:sp>
        <p:nvSpPr>
          <p:cNvPr id="5" name="Titel 4">
            <a:extLst>
              <a:ext uri="{FF2B5EF4-FFF2-40B4-BE49-F238E27FC236}">
                <a16:creationId xmlns:a16="http://schemas.microsoft.com/office/drawing/2014/main" id="{F0A65CD9-C530-9AFB-3BEA-4265C3FFE884}"/>
              </a:ext>
            </a:extLst>
          </p:cNvPr>
          <p:cNvSpPr>
            <a:spLocks noGrp="1"/>
          </p:cNvSpPr>
          <p:nvPr>
            <p:ph type="title"/>
          </p:nvPr>
        </p:nvSpPr>
        <p:spPr/>
        <p:txBody>
          <a:bodyPr vert="horz"/>
          <a:lstStyle/>
          <a:p>
            <a:r>
              <a:rPr lang="de-CH" dirty="0"/>
              <a:t>User-</a:t>
            </a:r>
            <a:r>
              <a:rPr lang="de-CH" dirty="0" err="1"/>
              <a:t>Centered</a:t>
            </a:r>
            <a:r>
              <a:rPr lang="de-CH" dirty="0"/>
              <a:t> Design</a:t>
            </a:r>
          </a:p>
        </p:txBody>
      </p:sp>
      <p:sp>
        <p:nvSpPr>
          <p:cNvPr id="6" name="Inhaltsplatzhalter 5">
            <a:extLst>
              <a:ext uri="{FF2B5EF4-FFF2-40B4-BE49-F238E27FC236}">
                <a16:creationId xmlns:a16="http://schemas.microsoft.com/office/drawing/2014/main" id="{CFA3D41A-B160-E0F2-6B34-9EF569CF640C}"/>
              </a:ext>
            </a:extLst>
          </p:cNvPr>
          <p:cNvSpPr>
            <a:spLocks noGrp="1"/>
          </p:cNvSpPr>
          <p:nvPr>
            <p:ph sz="quarter" idx="21"/>
          </p:nvPr>
        </p:nvSpPr>
        <p:spPr/>
        <p:txBody>
          <a:bodyPr>
            <a:normAutofit/>
          </a:bodyPr>
          <a:lstStyle/>
          <a:p>
            <a:r>
              <a:rPr lang="de-CH" dirty="0"/>
              <a:t>Der Nutzer steht im Mittelpunkt des gesamten Designprozesses. Es ist entscheidend, die Bedürfnisse, Ziele, Fähigkeiten und Präferenzen der Nutzer zu verstehen.</a:t>
            </a:r>
          </a:p>
          <a:p>
            <a:r>
              <a:rPr lang="de-CH" dirty="0"/>
              <a:t>Entwicklung </a:t>
            </a:r>
            <a:r>
              <a:rPr lang="de-CH" b="1" dirty="0"/>
              <a:t>MIT</a:t>
            </a:r>
            <a:r>
              <a:rPr lang="de-CH" dirty="0"/>
              <a:t> den Benutzern, nicht nur </a:t>
            </a:r>
            <a:r>
              <a:rPr lang="de-CH" b="1" dirty="0"/>
              <a:t>FÜR</a:t>
            </a:r>
            <a:r>
              <a:rPr lang="de-CH" dirty="0"/>
              <a:t> die Benutzer</a:t>
            </a:r>
          </a:p>
          <a:p>
            <a:endParaRPr lang="de-CH" dirty="0"/>
          </a:p>
          <a:p>
            <a:endParaRPr lang="de-CH" dirty="0"/>
          </a:p>
          <a:p>
            <a:endParaRPr lang="de-CH" dirty="0"/>
          </a:p>
          <a:p>
            <a:endParaRPr lang="de-CH" dirty="0"/>
          </a:p>
          <a:p>
            <a:endParaRPr lang="de-CH" dirty="0"/>
          </a:p>
          <a:p>
            <a:endParaRPr lang="de-CH" dirty="0"/>
          </a:p>
        </p:txBody>
      </p:sp>
      <p:sp>
        <p:nvSpPr>
          <p:cNvPr id="7" name="Textplatzhalter 6">
            <a:extLst>
              <a:ext uri="{FF2B5EF4-FFF2-40B4-BE49-F238E27FC236}">
                <a16:creationId xmlns:a16="http://schemas.microsoft.com/office/drawing/2014/main" id="{C24957C1-DC13-1B3B-88E6-B641F6F6EA4E}"/>
              </a:ext>
            </a:extLst>
          </p:cNvPr>
          <p:cNvSpPr>
            <a:spLocks noGrp="1"/>
          </p:cNvSpPr>
          <p:nvPr>
            <p:ph type="body" sz="quarter" idx="24"/>
          </p:nvPr>
        </p:nvSpPr>
        <p:spPr/>
        <p:txBody>
          <a:bodyPr>
            <a:normAutofit fontScale="92500" lnSpcReduction="20000"/>
          </a:bodyPr>
          <a:lstStyle/>
          <a:p>
            <a:endParaRPr lang="de-CH"/>
          </a:p>
        </p:txBody>
      </p:sp>
      <p:pic>
        <p:nvPicPr>
          <p:cNvPr id="11" name="Grafik 1">
            <a:extLst>
              <a:ext uri="{FF2B5EF4-FFF2-40B4-BE49-F238E27FC236}">
                <a16:creationId xmlns:a16="http://schemas.microsoft.com/office/drawing/2014/main" id="{2062E7DC-81D9-6252-331F-96485B76D9F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642" t="31617" r="20378" b="33580"/>
          <a:stretch/>
        </p:blipFill>
        <p:spPr bwMode="auto">
          <a:xfrm>
            <a:off x="2224316" y="2847372"/>
            <a:ext cx="7209296" cy="2476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8">
            <a:extLst>
              <a:ext uri="{FF2B5EF4-FFF2-40B4-BE49-F238E27FC236}">
                <a16:creationId xmlns:a16="http://schemas.microsoft.com/office/drawing/2014/main" id="{DA7BCDF8-9FF3-BB96-C2C2-D619FBD97B4D}"/>
              </a:ext>
            </a:extLst>
          </p:cNvPr>
          <p:cNvSpPr/>
          <p:nvPr/>
        </p:nvSpPr>
        <p:spPr>
          <a:xfrm>
            <a:off x="806450" y="5355429"/>
            <a:ext cx="11057254" cy="684213"/>
          </a:xfrm>
          <a:prstGeom prst="rect">
            <a:avLst/>
          </a:prstGeom>
          <a:solidFill>
            <a:srgbClr val="8C195F"/>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CH" sz="2000" dirty="0">
                <a:solidFill>
                  <a:schemeClr val="bg1"/>
                </a:solidFill>
              </a:rPr>
              <a:t>Fokus zuerst auf die Bedürfnisse der Benutzer und erst dann auf die technische Machbarkeit</a:t>
            </a:r>
          </a:p>
        </p:txBody>
      </p:sp>
    </p:spTree>
    <p:extLst>
      <p:ext uri="{BB962C8B-B14F-4D97-AF65-F5344CB8AC3E}">
        <p14:creationId xmlns:p14="http://schemas.microsoft.com/office/powerpoint/2010/main" val="374274266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D5FADC5-4AFA-8C3A-0D79-534859C8D69D}"/>
              </a:ext>
            </a:extLst>
          </p:cNvPr>
          <p:cNvGraphicFramePr>
            <a:graphicFrameLocks noChangeAspect="1"/>
          </p:cNvGraphicFramePr>
          <p:nvPr>
            <p:custDataLst>
              <p:tags r:id="rId1"/>
            </p:custDataLst>
            <p:extLst>
              <p:ext uri="{D42A27DB-BD31-4B8C-83A1-F6EECF244321}">
                <p14:modId xmlns:p14="http://schemas.microsoft.com/office/powerpoint/2010/main" val="3369396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8" name="think-cell data - do not delete" hidden="1">
                        <a:extLst>
                          <a:ext uri="{FF2B5EF4-FFF2-40B4-BE49-F238E27FC236}">
                            <a16:creationId xmlns:a16="http://schemas.microsoft.com/office/drawing/2014/main" id="{AD5FADC5-4AFA-8C3A-0D79-534859C8D6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B54C7883-2736-BC6E-3354-C0E164768CD7}"/>
              </a:ext>
            </a:extLst>
          </p:cNvPr>
          <p:cNvSpPr>
            <a:spLocks noGrp="1"/>
          </p:cNvSpPr>
          <p:nvPr>
            <p:ph type="dt" sz="half" idx="16"/>
          </p:nvPr>
        </p:nvSpPr>
        <p:spPr/>
        <p:txBody>
          <a:bodyPr/>
          <a:lstStyle/>
          <a:p>
            <a:fld id="{5DC80631-2E03-4DF7-A9FC-A1721476E53E}" type="datetime4">
              <a:rPr lang="de-CH" smtClean="0"/>
              <a:t>26. September 2023</a:t>
            </a:fld>
            <a:endParaRPr lang="de-CH" dirty="0"/>
          </a:p>
        </p:txBody>
      </p:sp>
      <p:sp>
        <p:nvSpPr>
          <p:cNvPr id="3" name="Fußzeilenplatzhalter 2">
            <a:extLst>
              <a:ext uri="{FF2B5EF4-FFF2-40B4-BE49-F238E27FC236}">
                <a16:creationId xmlns:a16="http://schemas.microsoft.com/office/drawing/2014/main" id="{170CF82B-A455-2D8C-5664-5DE071CBBD64}"/>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8C0BC7A1-0BD1-ECE3-177D-2F70600A5793}"/>
              </a:ext>
            </a:extLst>
          </p:cNvPr>
          <p:cNvSpPr>
            <a:spLocks noGrp="1"/>
          </p:cNvSpPr>
          <p:nvPr>
            <p:ph type="sldNum" sz="quarter" idx="18"/>
          </p:nvPr>
        </p:nvSpPr>
        <p:spPr/>
        <p:txBody>
          <a:bodyPr/>
          <a:lstStyle/>
          <a:p>
            <a:fld id="{4EAC321B-7500-4259-A00F-915439A35E15}" type="slidenum">
              <a:rPr lang="de-CH" smtClean="0"/>
              <a:pPr/>
              <a:t>40</a:t>
            </a:fld>
            <a:endParaRPr lang="de-CH" dirty="0"/>
          </a:p>
        </p:txBody>
      </p:sp>
      <p:sp>
        <p:nvSpPr>
          <p:cNvPr id="5" name="Titel 4">
            <a:extLst>
              <a:ext uri="{FF2B5EF4-FFF2-40B4-BE49-F238E27FC236}">
                <a16:creationId xmlns:a16="http://schemas.microsoft.com/office/drawing/2014/main" id="{1231E457-1A07-4F9E-2D9B-705FCC3063D7}"/>
              </a:ext>
            </a:extLst>
          </p:cNvPr>
          <p:cNvSpPr>
            <a:spLocks noGrp="1"/>
          </p:cNvSpPr>
          <p:nvPr>
            <p:ph type="title"/>
          </p:nvPr>
        </p:nvSpPr>
        <p:spPr/>
        <p:txBody>
          <a:bodyPr vert="horz"/>
          <a:lstStyle/>
          <a:p>
            <a:r>
              <a:rPr lang="de-CH" dirty="0"/>
              <a:t>Wichtige Normen</a:t>
            </a:r>
          </a:p>
        </p:txBody>
      </p:sp>
      <p:sp>
        <p:nvSpPr>
          <p:cNvPr id="6" name="Inhaltsplatzhalter 5">
            <a:extLst>
              <a:ext uri="{FF2B5EF4-FFF2-40B4-BE49-F238E27FC236}">
                <a16:creationId xmlns:a16="http://schemas.microsoft.com/office/drawing/2014/main" id="{8234EDE0-8D93-48F0-8233-8998DD637B83}"/>
              </a:ext>
            </a:extLst>
          </p:cNvPr>
          <p:cNvSpPr>
            <a:spLocks noGrp="1"/>
          </p:cNvSpPr>
          <p:nvPr>
            <p:ph sz="quarter" idx="21"/>
          </p:nvPr>
        </p:nvSpPr>
        <p:spPr/>
        <p:txBody>
          <a:bodyPr/>
          <a:lstStyle/>
          <a:p>
            <a:pPr>
              <a:lnSpc>
                <a:spcPct val="107000"/>
              </a:lnSpc>
              <a:spcAft>
                <a:spcPts val="300"/>
              </a:spcAft>
            </a:pPr>
            <a:r>
              <a:rPr lang="de-CH" dirty="0">
                <a:latin typeface="Arial" panose="020B0604020202020204" pitchFamily="34" charset="0"/>
                <a:cs typeface="Times New Roman" panose="02020603050405020304" pitchFamily="18" charset="0"/>
              </a:rPr>
              <a:t>Maschinenrichtlinie:</a:t>
            </a:r>
            <a:endParaRPr lang="de-CH" dirty="0">
              <a:latin typeface="Arial" panose="020B0604020202020204" pitchFamily="34" charset="0"/>
              <a:cs typeface="Times New Roman" panose="02020603050405020304" pitchFamily="18" charset="0"/>
              <a:hlinkClick r:id="rId5">
                <a:extLst>
                  <a:ext uri="{A12FA001-AC4F-418D-AE19-62706E023703}">
                    <ahyp:hlinkClr xmlns:ahyp="http://schemas.microsoft.com/office/drawing/2018/hyperlinkcolor" val="tx"/>
                  </a:ext>
                </a:extLst>
              </a:hlinkClick>
            </a:endParaRPr>
          </a:p>
          <a:p>
            <a:pPr lvl="1">
              <a:lnSpc>
                <a:spcPct val="107000"/>
              </a:lnSpc>
              <a:spcAft>
                <a:spcPts val="300"/>
              </a:spcAft>
            </a:pPr>
            <a:r>
              <a:rPr lang="de-CH" sz="1400" u="sng" dirty="0">
                <a:solidFill>
                  <a:srgbClr val="D72864"/>
                </a:solidFill>
                <a:effectLst/>
                <a:latin typeface="Arial" panose="020B0604020202020204" pitchFamily="34" charset="0"/>
                <a:ea typeface="Arial" panose="020B0604020202020204" pitchFamily="34" charset="0"/>
                <a:cs typeface="Times New Roman" panose="02020603050405020304" pitchFamily="18" charset="0"/>
                <a:hlinkClick r:id="rId5">
                  <a:extLst>
                    <a:ext uri="{A12FA001-AC4F-418D-AE19-62706E023703}">
                      <ahyp:hlinkClr xmlns:ahyp="http://schemas.microsoft.com/office/drawing/2018/hyperlinkcolor" val="tx"/>
                    </a:ext>
                  </a:extLst>
                </a:hlinkClick>
              </a:rPr>
              <a:t>https://eur-lex.europa.eu/legal-content/DE/TXT/PDF/?uri=CELEX:32006L0042&amp;from=DE</a:t>
            </a:r>
            <a:endParaRPr lang="de-CH" sz="1400" dirty="0">
              <a:effectLst/>
              <a:latin typeface="Arial" panose="020B0604020202020204" pitchFamily="34" charset="0"/>
              <a:ea typeface="Arial" panose="020B0604020202020204" pitchFamily="34" charset="0"/>
              <a:cs typeface="Times New Roman" panose="02020603050405020304" pitchFamily="18" charset="0"/>
            </a:endParaRPr>
          </a:p>
          <a:p>
            <a:pPr lvl="1">
              <a:lnSpc>
                <a:spcPct val="107000"/>
              </a:lnSpc>
              <a:spcAft>
                <a:spcPts val="300"/>
              </a:spcAft>
            </a:pPr>
            <a:r>
              <a:rPr lang="de-CH" sz="1400" u="sng" dirty="0">
                <a:solidFill>
                  <a:srgbClr val="D72864"/>
                </a:solidFill>
                <a:effectLst/>
                <a:latin typeface="Arial" panose="020B0604020202020204" pitchFamily="34" charset="0"/>
                <a:ea typeface="Arial" panose="020B0604020202020204" pitchFamily="34" charset="0"/>
                <a:cs typeface="Times New Roman" panose="02020603050405020304" pitchFamily="18" charset="0"/>
                <a:hlinkClick r:id="rId6"/>
              </a:rPr>
              <a:t>https://www.hanser-elibrary.com/doi/book/10.3139/9783446441637</a:t>
            </a:r>
            <a:endParaRPr lang="de-CH" sz="1400" u="sng" dirty="0">
              <a:solidFill>
                <a:srgbClr val="D72864"/>
              </a:solidFill>
              <a:effectLst/>
              <a:latin typeface="Arial" panose="020B0604020202020204" pitchFamily="34" charset="0"/>
              <a:ea typeface="Arial" panose="020B0604020202020204" pitchFamily="34" charset="0"/>
              <a:cs typeface="Times New Roman" panose="02020603050405020304" pitchFamily="18" charset="0"/>
            </a:endParaRPr>
          </a:p>
          <a:p>
            <a:pPr>
              <a:lnSpc>
                <a:spcPct val="107000"/>
              </a:lnSpc>
              <a:spcAft>
                <a:spcPts val="300"/>
              </a:spcAft>
            </a:pPr>
            <a:r>
              <a:rPr lang="de-CH" dirty="0">
                <a:latin typeface="Arial" panose="020B0604020202020204" pitchFamily="34" charset="0"/>
                <a:ea typeface="Arial" panose="020B0604020202020204" pitchFamily="34" charset="0"/>
                <a:cs typeface="Times New Roman" panose="02020603050405020304" pitchFamily="18" charset="0"/>
              </a:rPr>
              <a:t>Ergonomie: </a:t>
            </a:r>
          </a:p>
          <a:p>
            <a:pPr>
              <a:lnSpc>
                <a:spcPct val="107000"/>
              </a:lnSpc>
              <a:spcAft>
                <a:spcPts val="300"/>
              </a:spcAft>
            </a:pPr>
            <a:r>
              <a:rPr lang="de-CH" dirty="0">
                <a:effectLst/>
                <a:latin typeface="Arial" panose="020B0604020202020204" pitchFamily="34" charset="0"/>
                <a:ea typeface="Arial" panose="020B0604020202020204" pitchFamily="34" charset="0"/>
                <a:cs typeface="Times New Roman" panose="02020603050405020304" pitchFamily="18" charset="0"/>
              </a:rPr>
              <a:t>Sicherheit: </a:t>
            </a:r>
          </a:p>
          <a:p>
            <a:endParaRPr lang="de-CH" dirty="0"/>
          </a:p>
        </p:txBody>
      </p:sp>
      <p:sp>
        <p:nvSpPr>
          <p:cNvPr id="7" name="Textplatzhalter 6">
            <a:extLst>
              <a:ext uri="{FF2B5EF4-FFF2-40B4-BE49-F238E27FC236}">
                <a16:creationId xmlns:a16="http://schemas.microsoft.com/office/drawing/2014/main" id="{99527453-E378-2622-8AE4-81E9ADDEE14D}"/>
              </a:ext>
            </a:extLst>
          </p:cNvPr>
          <p:cNvSpPr>
            <a:spLocks noGrp="1"/>
          </p:cNvSpPr>
          <p:nvPr>
            <p:ph type="body" sz="quarter" idx="24"/>
          </p:nvPr>
        </p:nvSpPr>
        <p:spPr/>
        <p:txBody>
          <a:bodyPr>
            <a:normAutofit fontScale="92500" lnSpcReduction="20000"/>
          </a:bodyPr>
          <a:lstStyle/>
          <a:p>
            <a:r>
              <a:rPr lang="de-CH" dirty="0"/>
              <a:t>Risikomanagement</a:t>
            </a:r>
          </a:p>
        </p:txBody>
      </p:sp>
    </p:spTree>
    <p:extLst>
      <p:ext uri="{BB962C8B-B14F-4D97-AF65-F5344CB8AC3E}">
        <p14:creationId xmlns:p14="http://schemas.microsoft.com/office/powerpoint/2010/main" val="48181421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
        <p:nvSpPr>
          <p:cNvPr id="25" name="Titel 24"/>
          <p:cNvSpPr>
            <a:spLocks noGrp="1"/>
          </p:cNvSpPr>
          <p:nvPr>
            <p:ph type="ctrTitle"/>
          </p:nvPr>
        </p:nvSpPr>
        <p:spPr/>
        <p:txBody>
          <a:bodyPr/>
          <a:lstStyle/>
          <a:p>
            <a:r>
              <a:rPr lang="de-CH" dirty="0"/>
              <a:t>Viel Erfolg!</a:t>
            </a:r>
          </a:p>
        </p:txBody>
      </p:sp>
      <p:sp>
        <p:nvSpPr>
          <p:cNvPr id="4" name="Datumsplatzhalter 3"/>
          <p:cNvSpPr>
            <a:spLocks noGrp="1"/>
          </p:cNvSpPr>
          <p:nvPr>
            <p:ph type="dt" sz="half" idx="10"/>
          </p:nvPr>
        </p:nvSpPr>
        <p:spPr/>
        <p:txBody>
          <a:bodyPr/>
          <a:lstStyle/>
          <a:p>
            <a:fld id="{15FEE6A1-0F79-4F70-BE54-15844EFFAE52}" type="datetime4">
              <a:rPr lang="de-CH" smtClean="0"/>
              <a:t>26. September 2023</a:t>
            </a:fld>
            <a:endParaRPr lang="de-CH" dirty="0"/>
          </a:p>
        </p:txBody>
      </p:sp>
      <p:sp>
        <p:nvSpPr>
          <p:cNvPr id="26" name="Textplatzhalter 25"/>
          <p:cNvSpPr>
            <a:spLocks noGrp="1"/>
          </p:cNvSpPr>
          <p:nvPr>
            <p:ph type="body" sz="quarter" idx="13"/>
          </p:nvPr>
        </p:nvSpPr>
        <p:spPr/>
        <p:txBody>
          <a:bodyPr/>
          <a:lstStyle/>
          <a:p>
            <a:endParaRPr lang="de-CH"/>
          </a:p>
        </p:txBody>
      </p:sp>
      <p:sp>
        <p:nvSpPr>
          <p:cNvPr id="7" name="Textplatzhalter 6"/>
          <p:cNvSpPr>
            <a:spLocks noGrp="1"/>
          </p:cNvSpPr>
          <p:nvPr>
            <p:ph type="body" sz="quarter" idx="14"/>
          </p:nvPr>
        </p:nvSpPr>
        <p:spPr/>
        <p:txBody>
          <a:bodyPr/>
          <a:lstStyle/>
          <a:p>
            <a:endParaRPr lang="de-CH" dirty="0"/>
          </a:p>
        </p:txBody>
      </p:sp>
      <p:sp>
        <p:nvSpPr>
          <p:cNvPr id="27" name="Textplatzhalter 26"/>
          <p:cNvSpPr>
            <a:spLocks noGrp="1"/>
          </p:cNvSpPr>
          <p:nvPr>
            <p:ph type="body" sz="quarter" idx="15"/>
          </p:nvPr>
        </p:nvSpPr>
        <p:spPr/>
        <p:txBody>
          <a:bodyPr/>
          <a:lstStyle/>
          <a:p>
            <a:endParaRPr lang="de-CH"/>
          </a:p>
        </p:txBody>
      </p:sp>
    </p:spTree>
    <p:extLst>
      <p:ext uri="{BB962C8B-B14F-4D97-AF65-F5344CB8AC3E}">
        <p14:creationId xmlns:p14="http://schemas.microsoft.com/office/powerpoint/2010/main" val="15292638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6D661F8-16FE-4ED1-8AB9-A1E9F66AB222}"/>
              </a:ext>
            </a:extLst>
          </p:cNvPr>
          <p:cNvGraphicFramePr>
            <a:graphicFrameLocks noChangeAspect="1"/>
          </p:cNvGraphicFramePr>
          <p:nvPr>
            <p:custDataLst>
              <p:tags r:id="rId1"/>
            </p:custDataLst>
            <p:extLst>
              <p:ext uri="{D42A27DB-BD31-4B8C-83A1-F6EECF244321}">
                <p14:modId xmlns:p14="http://schemas.microsoft.com/office/powerpoint/2010/main" val="2618859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5" name="think-cell data - do not delete" hidden="1">
                        <a:extLst>
                          <a:ext uri="{FF2B5EF4-FFF2-40B4-BE49-F238E27FC236}">
                            <a16:creationId xmlns:a16="http://schemas.microsoft.com/office/drawing/2014/main" id="{56D661F8-16FE-4ED1-8AB9-A1E9F66AB2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Placeholder 12"/>
          <p:cNvPicPr>
            <a:picLocks noGrp="1" noChangeAspect="1"/>
          </p:cNvPicPr>
          <p:nvPr>
            <p:ph type="pic" sz="quarter" idx="12"/>
          </p:nvPr>
        </p:nvPicPr>
        <p:blipFill>
          <a:blip r:embed="rId6"/>
          <a:srcRect t="18462" b="18462"/>
          <a:stretch/>
        </p:blipFill>
        <p:spPr/>
      </p:pic>
      <p:sp>
        <p:nvSpPr>
          <p:cNvPr id="8" name="Title 7"/>
          <p:cNvSpPr>
            <a:spLocks noGrp="1"/>
          </p:cNvSpPr>
          <p:nvPr>
            <p:ph type="ctrTitle"/>
          </p:nvPr>
        </p:nvSpPr>
        <p:spPr>
          <a:xfrm>
            <a:off x="5338531" y="3550464"/>
            <a:ext cx="5957391" cy="674200"/>
          </a:xfrm>
        </p:spPr>
        <p:txBody>
          <a:bodyPr vert="horz"/>
          <a:lstStyle/>
          <a:p>
            <a:r>
              <a:rPr lang="de-DE" sz="3200" dirty="0"/>
              <a:t>User-Bedürfnisse verstehen</a:t>
            </a:r>
            <a:endParaRPr lang="de-DE" dirty="0"/>
          </a:p>
        </p:txBody>
      </p:sp>
      <p:sp>
        <p:nvSpPr>
          <p:cNvPr id="10" name="Text Placeholder 9"/>
          <p:cNvSpPr>
            <a:spLocks noGrp="1"/>
          </p:cNvSpPr>
          <p:nvPr>
            <p:ph type="body" sz="quarter" idx="13"/>
          </p:nvPr>
        </p:nvSpPr>
        <p:spPr/>
        <p:txBody>
          <a:bodyPr/>
          <a:lstStyle/>
          <a:p>
            <a:endParaRPr lang="en-US" dirty="0"/>
          </a:p>
        </p:txBody>
      </p:sp>
      <p:sp>
        <p:nvSpPr>
          <p:cNvPr id="3" name="Footer Placeholder 2"/>
          <p:cNvSpPr>
            <a:spLocks noGrp="1"/>
          </p:cNvSpPr>
          <p:nvPr>
            <p:ph type="ftr" sz="quarter" idx="4294967295"/>
          </p:nvPr>
        </p:nvSpPr>
        <p:spPr>
          <a:xfrm>
            <a:off x="538163" y="6454775"/>
            <a:ext cx="5364163" cy="333375"/>
          </a:xfrm>
        </p:spPr>
        <p:txBody>
          <a:bodyPr/>
          <a:lstStyle/>
          <a:p>
            <a:r>
              <a:rPr lang="en-US"/>
              <a:t>Wissensnugget - Qualität</a:t>
            </a:r>
            <a:endParaRPr lang="de-CH" dirty="0"/>
          </a:p>
        </p:txBody>
      </p:sp>
      <p:sp>
        <p:nvSpPr>
          <p:cNvPr id="4" name="Slide Number Placeholder 3"/>
          <p:cNvSpPr>
            <a:spLocks noGrp="1"/>
          </p:cNvSpPr>
          <p:nvPr>
            <p:ph type="sldNum" sz="quarter" idx="4294967295"/>
          </p:nvPr>
        </p:nvSpPr>
        <p:spPr>
          <a:xfrm>
            <a:off x="0" y="6453188"/>
            <a:ext cx="538163" cy="179387"/>
          </a:xfrm>
        </p:spPr>
        <p:txBody>
          <a:bodyPr/>
          <a:lstStyle/>
          <a:p>
            <a:fld id="{4EAC321B-7500-4259-A00F-915439A35E15}" type="slidenum">
              <a:rPr lang="de-CH" smtClean="0"/>
              <a:pPr/>
              <a:t>5</a:t>
            </a:fld>
            <a:endParaRPr lang="de-CH" dirty="0"/>
          </a:p>
        </p:txBody>
      </p:sp>
      <p:sp>
        <p:nvSpPr>
          <p:cNvPr id="2" name="Date Placeholder 1"/>
          <p:cNvSpPr>
            <a:spLocks noGrp="1"/>
          </p:cNvSpPr>
          <p:nvPr>
            <p:ph type="dt" sz="half" idx="10"/>
          </p:nvPr>
        </p:nvSpPr>
        <p:spPr/>
        <p:txBody>
          <a:bodyPr/>
          <a:lstStyle/>
          <a:p>
            <a:fld id="{7D336E36-31D8-4033-82CB-EA1A19C0B1F1}" type="datetime4">
              <a:rPr lang="de-CH" smtClean="0"/>
              <a:t>26. September 2023</a:t>
            </a:fld>
            <a:endParaRPr lang="de-CH" dirty="0"/>
          </a:p>
        </p:txBody>
      </p:sp>
    </p:spTree>
    <p:extLst>
      <p:ext uri="{BB962C8B-B14F-4D97-AF65-F5344CB8AC3E}">
        <p14:creationId xmlns:p14="http://schemas.microsoft.com/office/powerpoint/2010/main" val="358628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9E9C736-B4FA-FA18-6AC5-4A830E301591}"/>
              </a:ext>
            </a:extLst>
          </p:cNvPr>
          <p:cNvGraphicFramePr>
            <a:graphicFrameLocks noChangeAspect="1"/>
          </p:cNvGraphicFramePr>
          <p:nvPr>
            <p:custDataLst>
              <p:tags r:id="rId1"/>
            </p:custDataLst>
            <p:extLst>
              <p:ext uri="{D42A27DB-BD31-4B8C-83A1-F6EECF244321}">
                <p14:modId xmlns:p14="http://schemas.microsoft.com/office/powerpoint/2010/main" val="1658141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9" name="think-cell data - do not delete" hidden="1">
                        <a:extLst>
                          <a:ext uri="{FF2B5EF4-FFF2-40B4-BE49-F238E27FC236}">
                            <a16:creationId xmlns:a16="http://schemas.microsoft.com/office/drawing/2014/main" id="{79E9C736-B4FA-FA18-6AC5-4A830E3015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050" name="Picture 2">
            <a:extLst>
              <a:ext uri="{FF2B5EF4-FFF2-40B4-BE49-F238E27FC236}">
                <a16:creationId xmlns:a16="http://schemas.microsoft.com/office/drawing/2014/main" id="{F0A2B7D1-4595-0814-3731-7223C72AFF4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31820"/>
          <a:stretch/>
        </p:blipFill>
        <p:spPr bwMode="auto">
          <a:xfrm>
            <a:off x="7144379" y="2307533"/>
            <a:ext cx="5053972" cy="3858317"/>
          </a:xfrm>
          <a:prstGeom prst="rect">
            <a:avLst/>
          </a:prstGeom>
          <a:noFill/>
          <a:extLst>
            <a:ext uri="{909E8E84-426E-40DD-AFC4-6F175D3DCCD1}">
              <a14:hiddenFill xmlns:a14="http://schemas.microsoft.com/office/drawing/2010/main">
                <a:solidFill>
                  <a:srgbClr val="FFFFFF"/>
                </a:solidFill>
              </a14:hiddenFill>
            </a:ext>
          </a:extLst>
        </p:spPr>
      </p:pic>
      <p:sp>
        <p:nvSpPr>
          <p:cNvPr id="2" name="Datumsplatzhalter 1">
            <a:extLst>
              <a:ext uri="{FF2B5EF4-FFF2-40B4-BE49-F238E27FC236}">
                <a16:creationId xmlns:a16="http://schemas.microsoft.com/office/drawing/2014/main" id="{ACF8A616-86DA-120B-B3F0-689F0610EAE5}"/>
              </a:ext>
            </a:extLst>
          </p:cNvPr>
          <p:cNvSpPr>
            <a:spLocks noGrp="1"/>
          </p:cNvSpPr>
          <p:nvPr>
            <p:ph type="dt" sz="half" idx="16"/>
          </p:nvPr>
        </p:nvSpPr>
        <p:spPr/>
        <p:txBody>
          <a:bodyPr/>
          <a:lstStyle/>
          <a:p>
            <a:fld id="{A923F3DE-F782-4E1C-804C-CC383AE9D46E}" type="datetime4">
              <a:rPr lang="de-CH" smtClean="0"/>
              <a:t>26. September 2023</a:t>
            </a:fld>
            <a:endParaRPr lang="de-CH" dirty="0"/>
          </a:p>
        </p:txBody>
      </p:sp>
      <p:sp>
        <p:nvSpPr>
          <p:cNvPr id="3" name="Fußzeilenplatzhalter 2">
            <a:extLst>
              <a:ext uri="{FF2B5EF4-FFF2-40B4-BE49-F238E27FC236}">
                <a16:creationId xmlns:a16="http://schemas.microsoft.com/office/drawing/2014/main" id="{A8702C32-851B-6867-12AA-7682F447E6F7}"/>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946E6F04-6B2F-D5EF-72D2-59C38B075894}"/>
              </a:ext>
            </a:extLst>
          </p:cNvPr>
          <p:cNvSpPr>
            <a:spLocks noGrp="1"/>
          </p:cNvSpPr>
          <p:nvPr>
            <p:ph type="sldNum" sz="quarter" idx="18"/>
          </p:nvPr>
        </p:nvSpPr>
        <p:spPr/>
        <p:txBody>
          <a:bodyPr/>
          <a:lstStyle/>
          <a:p>
            <a:fld id="{4EAC321B-7500-4259-A00F-915439A35E15}" type="slidenum">
              <a:rPr lang="de-CH" smtClean="0"/>
              <a:pPr/>
              <a:t>6</a:t>
            </a:fld>
            <a:endParaRPr lang="de-CH" dirty="0"/>
          </a:p>
        </p:txBody>
      </p:sp>
      <p:sp>
        <p:nvSpPr>
          <p:cNvPr id="5" name="Titel 4">
            <a:extLst>
              <a:ext uri="{FF2B5EF4-FFF2-40B4-BE49-F238E27FC236}">
                <a16:creationId xmlns:a16="http://schemas.microsoft.com/office/drawing/2014/main" id="{F0A65CD9-C530-9AFB-3BEA-4265C3FFE884}"/>
              </a:ext>
            </a:extLst>
          </p:cNvPr>
          <p:cNvSpPr>
            <a:spLocks noGrp="1"/>
          </p:cNvSpPr>
          <p:nvPr>
            <p:ph type="title"/>
          </p:nvPr>
        </p:nvSpPr>
        <p:spPr/>
        <p:txBody>
          <a:bodyPr vert="horz"/>
          <a:lstStyle/>
          <a:p>
            <a:r>
              <a:rPr lang="de-CH" dirty="0"/>
              <a:t>Nutzerbedürfnisse verstehen</a:t>
            </a:r>
          </a:p>
        </p:txBody>
      </p:sp>
      <p:sp>
        <p:nvSpPr>
          <p:cNvPr id="6" name="Inhaltsplatzhalter 5">
            <a:extLst>
              <a:ext uri="{FF2B5EF4-FFF2-40B4-BE49-F238E27FC236}">
                <a16:creationId xmlns:a16="http://schemas.microsoft.com/office/drawing/2014/main" id="{CFA3D41A-B160-E0F2-6B34-9EF569CF640C}"/>
              </a:ext>
            </a:extLst>
          </p:cNvPr>
          <p:cNvSpPr>
            <a:spLocks noGrp="1"/>
          </p:cNvSpPr>
          <p:nvPr>
            <p:ph sz="quarter" idx="21"/>
          </p:nvPr>
        </p:nvSpPr>
        <p:spPr>
          <a:xfrm>
            <a:off x="806451" y="1449388"/>
            <a:ext cx="6136960" cy="4751387"/>
          </a:xfrm>
        </p:spPr>
        <p:txBody>
          <a:bodyPr>
            <a:normAutofit/>
          </a:bodyPr>
          <a:lstStyle/>
          <a:p>
            <a:r>
              <a:rPr lang="de-CH" dirty="0"/>
              <a:t>Nutzergruppen so früh wie möglich einbeziehen</a:t>
            </a:r>
          </a:p>
          <a:p>
            <a:r>
              <a:rPr lang="de-CH" dirty="0"/>
              <a:t>Um die Bedürfnisse der Nutzer zu verstehen, Befragungen der Nutzergruppen durchführen</a:t>
            </a:r>
          </a:p>
          <a:p>
            <a:r>
              <a:rPr lang="de-CH" dirty="0"/>
              <a:t>In den Befragungen den Fokus auf das Verstehen der Probleme der Nutzer legen</a:t>
            </a:r>
          </a:p>
          <a:p>
            <a:r>
              <a:rPr lang="de-CH" dirty="0"/>
              <a:t>Die Nutzergruppen individuell befragen, damit sie sich nicht gegenseitig beeinflussen</a:t>
            </a:r>
          </a:p>
          <a:p>
            <a:r>
              <a:rPr lang="de-CH" dirty="0"/>
              <a:t>Die Nutzer beim Arbeiten im Status Quo oder mit einem Prototypen beobachten</a:t>
            </a:r>
          </a:p>
        </p:txBody>
      </p:sp>
      <p:sp>
        <p:nvSpPr>
          <p:cNvPr id="7" name="Textplatzhalter 6">
            <a:extLst>
              <a:ext uri="{FF2B5EF4-FFF2-40B4-BE49-F238E27FC236}">
                <a16:creationId xmlns:a16="http://schemas.microsoft.com/office/drawing/2014/main" id="{C24957C1-DC13-1B3B-88E6-B641F6F6EA4E}"/>
              </a:ext>
            </a:extLst>
          </p:cNvPr>
          <p:cNvSpPr>
            <a:spLocks noGrp="1"/>
          </p:cNvSpPr>
          <p:nvPr>
            <p:ph type="body" sz="quarter" idx="24"/>
          </p:nvPr>
        </p:nvSpPr>
        <p:spPr/>
        <p:txBody>
          <a:bodyPr>
            <a:normAutofit fontScale="92500" lnSpcReduction="20000"/>
          </a:bodyPr>
          <a:lstStyle/>
          <a:p>
            <a:endParaRPr lang="de-CH"/>
          </a:p>
        </p:txBody>
      </p:sp>
    </p:spTree>
    <p:extLst>
      <p:ext uri="{BB962C8B-B14F-4D97-AF65-F5344CB8AC3E}">
        <p14:creationId xmlns:p14="http://schemas.microsoft.com/office/powerpoint/2010/main" val="15469062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9E9C736-B4FA-FA18-6AC5-4A830E3015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9" name="think-cell data - do not delete" hidden="1">
                        <a:extLst>
                          <a:ext uri="{FF2B5EF4-FFF2-40B4-BE49-F238E27FC236}">
                            <a16:creationId xmlns:a16="http://schemas.microsoft.com/office/drawing/2014/main" id="{79E9C736-B4FA-FA18-6AC5-4A830E3015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ACF8A616-86DA-120B-B3F0-689F0610EAE5}"/>
              </a:ext>
            </a:extLst>
          </p:cNvPr>
          <p:cNvSpPr>
            <a:spLocks noGrp="1"/>
          </p:cNvSpPr>
          <p:nvPr>
            <p:ph type="dt" sz="half" idx="16"/>
          </p:nvPr>
        </p:nvSpPr>
        <p:spPr/>
        <p:txBody>
          <a:bodyPr/>
          <a:lstStyle/>
          <a:p>
            <a:fld id="{181F8404-6EF3-4F86-A35C-BE75C0545584}" type="datetime4">
              <a:rPr lang="de-CH" smtClean="0"/>
              <a:t>26. September 2023</a:t>
            </a:fld>
            <a:endParaRPr lang="de-CH" dirty="0"/>
          </a:p>
        </p:txBody>
      </p:sp>
      <p:sp>
        <p:nvSpPr>
          <p:cNvPr id="3" name="Fußzeilenplatzhalter 2">
            <a:extLst>
              <a:ext uri="{FF2B5EF4-FFF2-40B4-BE49-F238E27FC236}">
                <a16:creationId xmlns:a16="http://schemas.microsoft.com/office/drawing/2014/main" id="{A8702C32-851B-6867-12AA-7682F447E6F7}"/>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946E6F04-6B2F-D5EF-72D2-59C38B075894}"/>
              </a:ext>
            </a:extLst>
          </p:cNvPr>
          <p:cNvSpPr>
            <a:spLocks noGrp="1"/>
          </p:cNvSpPr>
          <p:nvPr>
            <p:ph type="sldNum" sz="quarter" idx="18"/>
          </p:nvPr>
        </p:nvSpPr>
        <p:spPr/>
        <p:txBody>
          <a:bodyPr/>
          <a:lstStyle/>
          <a:p>
            <a:fld id="{4EAC321B-7500-4259-A00F-915439A35E15}" type="slidenum">
              <a:rPr lang="de-CH" smtClean="0"/>
              <a:pPr/>
              <a:t>7</a:t>
            </a:fld>
            <a:endParaRPr lang="de-CH" dirty="0"/>
          </a:p>
        </p:txBody>
      </p:sp>
      <p:sp>
        <p:nvSpPr>
          <p:cNvPr id="5" name="Titel 4">
            <a:extLst>
              <a:ext uri="{FF2B5EF4-FFF2-40B4-BE49-F238E27FC236}">
                <a16:creationId xmlns:a16="http://schemas.microsoft.com/office/drawing/2014/main" id="{F0A65CD9-C530-9AFB-3BEA-4265C3FFE884}"/>
              </a:ext>
            </a:extLst>
          </p:cNvPr>
          <p:cNvSpPr>
            <a:spLocks noGrp="1"/>
          </p:cNvSpPr>
          <p:nvPr>
            <p:ph type="title"/>
          </p:nvPr>
        </p:nvSpPr>
        <p:spPr/>
        <p:txBody>
          <a:bodyPr vert="horz"/>
          <a:lstStyle/>
          <a:p>
            <a:r>
              <a:rPr lang="de-CH" dirty="0"/>
              <a:t>Die User-Story</a:t>
            </a:r>
          </a:p>
        </p:txBody>
      </p:sp>
      <p:sp>
        <p:nvSpPr>
          <p:cNvPr id="6" name="Inhaltsplatzhalter 5">
            <a:extLst>
              <a:ext uri="{FF2B5EF4-FFF2-40B4-BE49-F238E27FC236}">
                <a16:creationId xmlns:a16="http://schemas.microsoft.com/office/drawing/2014/main" id="{CFA3D41A-B160-E0F2-6B34-9EF569CF640C}"/>
              </a:ext>
            </a:extLst>
          </p:cNvPr>
          <p:cNvSpPr>
            <a:spLocks noGrp="1"/>
          </p:cNvSpPr>
          <p:nvPr>
            <p:ph sz="quarter" idx="21"/>
          </p:nvPr>
        </p:nvSpPr>
        <p:spPr/>
        <p:txBody>
          <a:bodyPr/>
          <a:lstStyle/>
          <a:p>
            <a:r>
              <a:rPr lang="de-CH" dirty="0"/>
              <a:t>Basierend auf den Befragungen werden Personas oder User-Stories erstellt, die typische Nutzerprofile repräsentieren. Diese helfen bei der Visualisierung und Verinnerlichung der Zielgruppe mit ihren entsprechenden Anforderungen.</a:t>
            </a:r>
          </a:p>
        </p:txBody>
      </p:sp>
      <p:sp>
        <p:nvSpPr>
          <p:cNvPr id="7" name="Textplatzhalter 6">
            <a:extLst>
              <a:ext uri="{FF2B5EF4-FFF2-40B4-BE49-F238E27FC236}">
                <a16:creationId xmlns:a16="http://schemas.microsoft.com/office/drawing/2014/main" id="{C24957C1-DC13-1B3B-88E6-B641F6F6EA4E}"/>
              </a:ext>
            </a:extLst>
          </p:cNvPr>
          <p:cNvSpPr>
            <a:spLocks noGrp="1"/>
          </p:cNvSpPr>
          <p:nvPr>
            <p:ph type="body" sz="quarter" idx="24"/>
          </p:nvPr>
        </p:nvSpPr>
        <p:spPr/>
        <p:txBody>
          <a:bodyPr>
            <a:normAutofit fontScale="92500" lnSpcReduction="20000"/>
          </a:bodyPr>
          <a:lstStyle/>
          <a:p>
            <a:endParaRPr lang="de-CH"/>
          </a:p>
        </p:txBody>
      </p:sp>
      <p:pic>
        <p:nvPicPr>
          <p:cNvPr id="8" name="Grafik 7">
            <a:extLst>
              <a:ext uri="{FF2B5EF4-FFF2-40B4-BE49-F238E27FC236}">
                <a16:creationId xmlns:a16="http://schemas.microsoft.com/office/drawing/2014/main" id="{BB5152D8-2440-CA68-B073-5E2C210D8892}"/>
              </a:ext>
            </a:extLst>
          </p:cNvPr>
          <p:cNvPicPr>
            <a:picLocks noChangeAspect="1"/>
          </p:cNvPicPr>
          <p:nvPr/>
        </p:nvPicPr>
        <p:blipFill rotWithShape="1">
          <a:blip r:embed="rId5"/>
          <a:srcRect l="6513" t="18481" r="9705" b="2935"/>
          <a:stretch/>
        </p:blipFill>
        <p:spPr>
          <a:xfrm>
            <a:off x="680641" y="2752492"/>
            <a:ext cx="6036890" cy="3134279"/>
          </a:xfrm>
          <a:prstGeom prst="rect">
            <a:avLst/>
          </a:prstGeom>
        </p:spPr>
      </p:pic>
      <p:pic>
        <p:nvPicPr>
          <p:cNvPr id="13" name="Grafik 12">
            <a:extLst>
              <a:ext uri="{FF2B5EF4-FFF2-40B4-BE49-F238E27FC236}">
                <a16:creationId xmlns:a16="http://schemas.microsoft.com/office/drawing/2014/main" id="{4157EC39-8EFE-3B23-FCF6-F66DB39DB88F}"/>
              </a:ext>
            </a:extLst>
          </p:cNvPr>
          <p:cNvPicPr>
            <a:picLocks noChangeAspect="1"/>
          </p:cNvPicPr>
          <p:nvPr/>
        </p:nvPicPr>
        <p:blipFill rotWithShape="1">
          <a:blip r:embed="rId6"/>
          <a:srcRect l="16536" t="12737" r="2897"/>
          <a:stretch/>
        </p:blipFill>
        <p:spPr>
          <a:xfrm>
            <a:off x="6760483" y="2656825"/>
            <a:ext cx="5437867" cy="3325614"/>
          </a:xfrm>
          <a:prstGeom prst="rect">
            <a:avLst/>
          </a:prstGeom>
        </p:spPr>
      </p:pic>
    </p:spTree>
    <p:extLst>
      <p:ext uri="{BB962C8B-B14F-4D97-AF65-F5344CB8AC3E}">
        <p14:creationId xmlns:p14="http://schemas.microsoft.com/office/powerpoint/2010/main" val="32187121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3160ABB-979F-6B0E-7A1C-1E8899221C2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8" name="think-cell data - do not delete" hidden="1">
                        <a:extLst>
                          <a:ext uri="{FF2B5EF4-FFF2-40B4-BE49-F238E27FC236}">
                            <a16:creationId xmlns:a16="http://schemas.microsoft.com/office/drawing/2014/main" id="{63160ABB-979F-6B0E-7A1C-1E8899221C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B6FF8552-5297-110C-0AF3-D45EAF9320AC}"/>
              </a:ext>
            </a:extLst>
          </p:cNvPr>
          <p:cNvSpPr>
            <a:spLocks noGrp="1"/>
          </p:cNvSpPr>
          <p:nvPr>
            <p:ph type="dt" sz="half" idx="16"/>
          </p:nvPr>
        </p:nvSpPr>
        <p:spPr/>
        <p:txBody>
          <a:bodyPr/>
          <a:lstStyle/>
          <a:p>
            <a:fld id="{8936BED4-B8F0-489F-A0D3-4CE467552563}" type="datetime4">
              <a:rPr lang="de-CH" smtClean="0"/>
              <a:t>26. September 2023</a:t>
            </a:fld>
            <a:endParaRPr lang="de-CH" dirty="0"/>
          </a:p>
        </p:txBody>
      </p:sp>
      <p:sp>
        <p:nvSpPr>
          <p:cNvPr id="3" name="Fußzeilenplatzhalter 2">
            <a:extLst>
              <a:ext uri="{FF2B5EF4-FFF2-40B4-BE49-F238E27FC236}">
                <a16:creationId xmlns:a16="http://schemas.microsoft.com/office/drawing/2014/main" id="{55D77DD7-6C9F-FBA5-0F9A-40A4801AC934}"/>
              </a:ext>
            </a:extLst>
          </p:cNvPr>
          <p:cNvSpPr>
            <a:spLocks noGrp="1"/>
          </p:cNvSpPr>
          <p:nvPr>
            <p:ph type="ftr" sz="quarter" idx="17"/>
          </p:nvPr>
        </p:nvSpPr>
        <p:spPr/>
        <p:txBody>
          <a:bodyPr/>
          <a:lstStyle/>
          <a:p>
            <a:r>
              <a:rPr lang="de-CH"/>
              <a:t>Wissensnugget - Qualität</a:t>
            </a:r>
            <a:endParaRPr lang="de-CH" dirty="0"/>
          </a:p>
        </p:txBody>
      </p:sp>
      <p:sp>
        <p:nvSpPr>
          <p:cNvPr id="4" name="Foliennummernplatzhalter 3">
            <a:extLst>
              <a:ext uri="{FF2B5EF4-FFF2-40B4-BE49-F238E27FC236}">
                <a16:creationId xmlns:a16="http://schemas.microsoft.com/office/drawing/2014/main" id="{77CAE84C-95F1-3C4E-4617-F22BC7DF8616}"/>
              </a:ext>
            </a:extLst>
          </p:cNvPr>
          <p:cNvSpPr>
            <a:spLocks noGrp="1"/>
          </p:cNvSpPr>
          <p:nvPr>
            <p:ph type="sldNum" sz="quarter" idx="18"/>
          </p:nvPr>
        </p:nvSpPr>
        <p:spPr/>
        <p:txBody>
          <a:bodyPr/>
          <a:lstStyle/>
          <a:p>
            <a:fld id="{4EAC321B-7500-4259-A00F-915439A35E15}" type="slidenum">
              <a:rPr lang="de-CH" smtClean="0"/>
              <a:pPr/>
              <a:t>8</a:t>
            </a:fld>
            <a:endParaRPr lang="de-CH" dirty="0"/>
          </a:p>
        </p:txBody>
      </p:sp>
      <p:sp>
        <p:nvSpPr>
          <p:cNvPr id="5" name="Titel 4">
            <a:extLst>
              <a:ext uri="{FF2B5EF4-FFF2-40B4-BE49-F238E27FC236}">
                <a16:creationId xmlns:a16="http://schemas.microsoft.com/office/drawing/2014/main" id="{07C3266B-BB76-4D33-43E4-C6FEEF372B0A}"/>
              </a:ext>
            </a:extLst>
          </p:cNvPr>
          <p:cNvSpPr>
            <a:spLocks noGrp="1"/>
          </p:cNvSpPr>
          <p:nvPr>
            <p:ph type="title"/>
          </p:nvPr>
        </p:nvSpPr>
        <p:spPr/>
        <p:txBody>
          <a:bodyPr vert="horz"/>
          <a:lstStyle/>
          <a:p>
            <a:r>
              <a:rPr lang="de-CH" dirty="0"/>
              <a:t>Früh Feedback einholen</a:t>
            </a:r>
          </a:p>
        </p:txBody>
      </p:sp>
      <p:sp>
        <p:nvSpPr>
          <p:cNvPr id="6" name="Inhaltsplatzhalter 5">
            <a:extLst>
              <a:ext uri="{FF2B5EF4-FFF2-40B4-BE49-F238E27FC236}">
                <a16:creationId xmlns:a16="http://schemas.microsoft.com/office/drawing/2014/main" id="{AAED2793-C2BB-E8A0-4F4D-A5611DE025BB}"/>
              </a:ext>
            </a:extLst>
          </p:cNvPr>
          <p:cNvSpPr>
            <a:spLocks noGrp="1"/>
          </p:cNvSpPr>
          <p:nvPr>
            <p:ph sz="quarter" idx="21"/>
          </p:nvPr>
        </p:nvSpPr>
        <p:spPr/>
        <p:txBody>
          <a:bodyPr/>
          <a:lstStyle/>
          <a:p>
            <a:r>
              <a:rPr lang="de-CH" dirty="0"/>
              <a:t>Um die Nutzer in die Entwicklung einzubinden, soll bereits im frühen Entwicklungsstadium zu den Konzepten Feedback der User eingeholt werden. Dabei ist es wichtig, die Ideen so zu visualisieren, dass die User auch fähig sind Feedback zu geben. Besser einfache Visualisierungen oder Skizzen statt Text:</a:t>
            </a:r>
          </a:p>
        </p:txBody>
      </p:sp>
      <p:sp>
        <p:nvSpPr>
          <p:cNvPr id="7" name="Textplatzhalter 6">
            <a:extLst>
              <a:ext uri="{FF2B5EF4-FFF2-40B4-BE49-F238E27FC236}">
                <a16:creationId xmlns:a16="http://schemas.microsoft.com/office/drawing/2014/main" id="{463ADA03-347A-9B9F-D1D3-CD7C39A93247}"/>
              </a:ext>
            </a:extLst>
          </p:cNvPr>
          <p:cNvSpPr>
            <a:spLocks noGrp="1"/>
          </p:cNvSpPr>
          <p:nvPr>
            <p:ph type="body" sz="quarter" idx="24"/>
          </p:nvPr>
        </p:nvSpPr>
        <p:spPr/>
        <p:txBody>
          <a:bodyPr>
            <a:normAutofit fontScale="92500" lnSpcReduction="20000"/>
          </a:bodyPr>
          <a:lstStyle/>
          <a:p>
            <a:endParaRPr lang="de-CH"/>
          </a:p>
        </p:txBody>
      </p:sp>
      <p:pic>
        <p:nvPicPr>
          <p:cNvPr id="2050" name="Grafik 2">
            <a:extLst>
              <a:ext uri="{FF2B5EF4-FFF2-40B4-BE49-F238E27FC236}">
                <a16:creationId xmlns:a16="http://schemas.microsoft.com/office/drawing/2014/main" id="{CA1F11C5-A8B6-5AF4-D003-B15C3DE0057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75" t="29270" r="3087" b="13292"/>
          <a:stretch/>
        </p:blipFill>
        <p:spPr bwMode="auto">
          <a:xfrm>
            <a:off x="985519" y="2870827"/>
            <a:ext cx="9904965" cy="3402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698793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p:cNvPicPr>
            <a:picLocks noGrp="1" noChangeAspect="1"/>
          </p:cNvPicPr>
          <p:nvPr>
            <p:ph type="pic" sz="quarter" idx="12"/>
          </p:nvPr>
        </p:nvPicPr>
        <p:blipFill>
          <a:blip r:embed="rId3"/>
          <a:srcRect t="14507" b="14507"/>
          <a:stretch/>
        </p:blipFill>
        <p:spPr/>
      </p:pic>
      <p:sp>
        <p:nvSpPr>
          <p:cNvPr id="8" name="Title 7"/>
          <p:cNvSpPr>
            <a:spLocks noGrp="1"/>
          </p:cNvSpPr>
          <p:nvPr>
            <p:ph type="ctrTitle"/>
          </p:nvPr>
        </p:nvSpPr>
        <p:spPr>
          <a:xfrm>
            <a:off x="5338531" y="3550464"/>
            <a:ext cx="5957391" cy="674200"/>
          </a:xfrm>
        </p:spPr>
        <p:txBody>
          <a:bodyPr/>
          <a:lstStyle/>
          <a:p>
            <a:r>
              <a:rPr lang="de-DE" sz="3200" dirty="0"/>
              <a:t>Anforderungsmanagement</a:t>
            </a:r>
            <a:endParaRPr lang="de-DE" dirty="0"/>
          </a:p>
        </p:txBody>
      </p:sp>
      <p:sp>
        <p:nvSpPr>
          <p:cNvPr id="10" name="Text Placeholder 9"/>
          <p:cNvSpPr>
            <a:spLocks noGrp="1"/>
          </p:cNvSpPr>
          <p:nvPr>
            <p:ph type="body" sz="quarter" idx="13"/>
          </p:nvPr>
        </p:nvSpPr>
        <p:spPr/>
        <p:txBody>
          <a:bodyPr/>
          <a:lstStyle/>
          <a:p>
            <a:r>
              <a:rPr lang="en-US" dirty="0" err="1"/>
              <a:t>Anforderungen</a:t>
            </a:r>
            <a:r>
              <a:rPr lang="en-US" dirty="0"/>
              <a:t> </a:t>
            </a:r>
            <a:r>
              <a:rPr lang="en-US" dirty="0" err="1"/>
              <a:t>spezifizieren</a:t>
            </a:r>
            <a:endParaRPr lang="en-US" dirty="0"/>
          </a:p>
        </p:txBody>
      </p:sp>
      <p:sp>
        <p:nvSpPr>
          <p:cNvPr id="3" name="Footer Placeholder 2"/>
          <p:cNvSpPr>
            <a:spLocks noGrp="1"/>
          </p:cNvSpPr>
          <p:nvPr>
            <p:ph type="ftr" sz="quarter" idx="4294967295"/>
          </p:nvPr>
        </p:nvSpPr>
        <p:spPr>
          <a:xfrm>
            <a:off x="538163" y="6454775"/>
            <a:ext cx="5364163" cy="333375"/>
          </a:xfrm>
        </p:spPr>
        <p:txBody>
          <a:bodyPr/>
          <a:lstStyle/>
          <a:p>
            <a:r>
              <a:rPr lang="en-US"/>
              <a:t>Wissensnugget - Qualität</a:t>
            </a:r>
            <a:endParaRPr lang="de-CH" dirty="0"/>
          </a:p>
        </p:txBody>
      </p:sp>
      <p:sp>
        <p:nvSpPr>
          <p:cNvPr id="4" name="Slide Number Placeholder 3"/>
          <p:cNvSpPr>
            <a:spLocks noGrp="1"/>
          </p:cNvSpPr>
          <p:nvPr>
            <p:ph type="sldNum" sz="quarter" idx="4294967295"/>
          </p:nvPr>
        </p:nvSpPr>
        <p:spPr>
          <a:xfrm>
            <a:off x="0" y="6453188"/>
            <a:ext cx="538163" cy="179387"/>
          </a:xfrm>
        </p:spPr>
        <p:txBody>
          <a:bodyPr/>
          <a:lstStyle/>
          <a:p>
            <a:fld id="{4EAC321B-7500-4259-A00F-915439A35E15}" type="slidenum">
              <a:rPr lang="de-CH" smtClean="0"/>
              <a:pPr/>
              <a:t>9</a:t>
            </a:fld>
            <a:endParaRPr lang="de-CH" dirty="0"/>
          </a:p>
        </p:txBody>
      </p:sp>
      <p:sp>
        <p:nvSpPr>
          <p:cNvPr id="2" name="Date Placeholder 1"/>
          <p:cNvSpPr>
            <a:spLocks noGrp="1"/>
          </p:cNvSpPr>
          <p:nvPr>
            <p:ph type="dt" sz="half" idx="10"/>
          </p:nvPr>
        </p:nvSpPr>
        <p:spPr/>
        <p:txBody>
          <a:bodyPr/>
          <a:lstStyle/>
          <a:p>
            <a:fld id="{92F2E32F-CF21-4488-A669-AC00AA00543B}" type="datetime4">
              <a:rPr lang="de-CH" smtClean="0"/>
              <a:t>26. September 2023</a:t>
            </a:fld>
            <a:endParaRPr lang="de-CH" dirty="0"/>
          </a:p>
        </p:txBody>
      </p:sp>
    </p:spTree>
    <p:extLst>
      <p:ext uri="{BB962C8B-B14F-4D97-AF65-F5344CB8AC3E}">
        <p14:creationId xmlns:p14="http://schemas.microsoft.com/office/powerpoint/2010/main" val="10408997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ST-Vorlage">
  <a:themeElements>
    <a:clrScheme name="Benutzerdefiniert 19">
      <a:dk1>
        <a:srgbClr val="191919"/>
      </a:dk1>
      <a:lt1>
        <a:srgbClr val="FFFFFF"/>
      </a:lt1>
      <a:dk2>
        <a:srgbClr val="8C195F"/>
      </a:dk2>
      <a:lt2>
        <a:srgbClr val="C6C6C6"/>
      </a:lt2>
      <a:accent1>
        <a:srgbClr val="6B3881"/>
      </a:accent1>
      <a:accent2>
        <a:srgbClr val="D0A9D0"/>
      </a:accent2>
      <a:accent3>
        <a:srgbClr val="007E6B"/>
      </a:accent3>
      <a:accent4>
        <a:srgbClr val="A7D5C2"/>
      </a:accent4>
      <a:accent5>
        <a:srgbClr val="C32E15"/>
      </a:accent5>
      <a:accent6>
        <a:srgbClr val="F39A8B"/>
      </a:accent6>
      <a:hlink>
        <a:srgbClr val="D72864"/>
      </a:hlink>
      <a:folHlink>
        <a:srgbClr val="8C195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25400">
          <a:solidFill>
            <a:schemeClr val="accent1"/>
          </a:solidFill>
        </a:ln>
        <a:effectLst/>
      </a:spPr>
      <a:bodyPr rot="0" spcFirstLastPara="0" vertOverflow="overflow" horzOverflow="overflow" vert="horz" wrap="square" lIns="108000" tIns="36000" rIns="108000" bIns="36000" numCol="1" spcCol="0" rtlCol="0" fromWordArt="0" anchor="ctr" anchorCtr="0" forceAA="0" compatLnSpc="1">
        <a:prstTxWarp prst="textNoShape">
          <a:avLst/>
        </a:prstTxWarp>
        <a:normAutofit/>
      </a:bodyPr>
      <a:lstStyle>
        <a:defPPr algn="ctr">
          <a:lnSpc>
            <a:spcPct val="110000"/>
          </a:lnSpc>
          <a:spcAft>
            <a:spcPts val="600"/>
          </a:spcAft>
          <a:defRPr dirty="0" smtClean="0"/>
        </a:defPPr>
      </a:lstStyle>
      <a:style>
        <a:lnRef idx="1">
          <a:schemeClr val="accent3"/>
        </a:lnRef>
        <a:fillRef idx="2">
          <a:schemeClr val="accent3"/>
        </a:fillRef>
        <a:effectRef idx="1">
          <a:schemeClr val="accent3"/>
        </a:effectRef>
        <a:fontRef idx="minor">
          <a:schemeClr val="dk1"/>
        </a:fontRef>
      </a:style>
    </a:spDef>
    <a:lnDef>
      <a:spPr>
        <a:ln w="25400">
          <a:miter lim="800000"/>
        </a:ln>
        <a:effectLst/>
      </a:spPr>
      <a:bodyPr/>
      <a:lstStyle/>
      <a:style>
        <a:lnRef idx="2">
          <a:schemeClr val="accent1"/>
        </a:lnRef>
        <a:fillRef idx="0">
          <a:schemeClr val="accent1"/>
        </a:fillRef>
        <a:effectRef idx="1">
          <a:schemeClr val="accent1"/>
        </a:effectRef>
        <a:fontRef idx="minor">
          <a:schemeClr val="tx1"/>
        </a:fontRef>
      </a:style>
    </a:lnDef>
    <a:txDef>
      <a:spPr>
        <a:solidFill>
          <a:schemeClr val="bg1"/>
        </a:solidFill>
        <a:ln w="28575">
          <a:noFill/>
          <a:miter lim="800000"/>
        </a:ln>
      </a:spPr>
      <a:bodyPr wrap="square" lIns="108000" tIns="36000" rIns="108000" bIns="72000" rtlCol="0">
        <a:spAutoFit/>
      </a:bodyPr>
      <a:lstStyle>
        <a:defPPr>
          <a:spcAft>
            <a:spcPts val="600"/>
          </a:spcAft>
          <a:buClr>
            <a:schemeClr val="tx2"/>
          </a:buClr>
          <a:defRPr sz="1800" dirty="0" smtClean="0">
            <a:ea typeface="Roboto Medium" panose="02000000000000000000" pitchFamily="2" charset="0"/>
          </a:defRPr>
        </a:defPPr>
      </a:lstStyle>
    </a:txDef>
  </a:objectDefaults>
  <a:extraClrSchemeLst>
    <a:extraClrScheme>
      <a:clrScheme name="OST - Farben">
        <a:dk1>
          <a:srgbClr val="191919"/>
        </a:dk1>
        <a:lt1>
          <a:srgbClr val="FFFFFF"/>
        </a:lt1>
        <a:dk2>
          <a:srgbClr val="8C195F"/>
        </a:dk2>
        <a:lt2>
          <a:srgbClr val="D72864"/>
        </a:lt2>
        <a:accent1>
          <a:srgbClr val="56276D"/>
        </a:accent1>
        <a:accent2>
          <a:srgbClr val="C397C4"/>
        </a:accent2>
        <a:accent3>
          <a:srgbClr val="146C58"/>
        </a:accent3>
        <a:accent4>
          <a:srgbClr val="99CCB5"/>
        </a:accent4>
        <a:accent5>
          <a:srgbClr val="B21D19"/>
        </a:accent5>
        <a:accent6>
          <a:srgbClr val="EC867B"/>
        </a:accent6>
        <a:hlink>
          <a:srgbClr val="191919"/>
        </a:hlink>
        <a:folHlink>
          <a:srgbClr val="191919"/>
        </a:folHlink>
      </a:clrScheme>
      <a:clrMap bg1="lt1" tx1="dk1" bg2="lt2" tx2="dk2" accent1="accent1" accent2="accent2" accent3="accent3" accent4="accent4" accent5="accent5" accent6="accent6" hlink="hlink" folHlink="folHlink"/>
    </a:extraClrScheme>
  </a:extraClrSchemeLst>
  <a:custClrLst>
    <a:custClr name="OST Violett">
      <a:srgbClr val="9560A4"/>
    </a:custClr>
    <a:custClr name="OST Grün">
      <a:srgbClr val="1DAF8E"/>
    </a:custClr>
    <a:custClr name="OST Rot">
      <a:srgbClr val="E84E0F"/>
    </a:custClr>
    <a:custClr name="OST Blau">
      <a:srgbClr val="0086CD"/>
    </a:custClr>
    <a:custClr name="OST Orange">
      <a:srgbClr val="FBBA00"/>
    </a:custClr>
    <a:custClr name="Weiss">
      <a:srgbClr val="FFFFFF"/>
    </a:custClr>
    <a:custClr name="Weiss">
      <a:srgbClr val="FFFFFF"/>
    </a:custClr>
    <a:custClr name="OST Schwarz">
      <a:srgbClr val="191919"/>
    </a:custClr>
    <a:custClr name="OST Brombeer">
      <a:srgbClr val="8C195F"/>
    </a:custClr>
    <a:custClr name="OST Himbeer">
      <a:srgbClr val="D72864"/>
    </a:custClr>
    <a:custClr name="OST Dunkelviolett">
      <a:srgbClr val="6B3881"/>
    </a:custClr>
    <a:custClr name="OST Dunkelgrün">
      <a:srgbClr val="007E6B"/>
    </a:custClr>
    <a:custClr name="OST Dunkelrot">
      <a:srgbClr val="C32E15"/>
    </a:custClr>
    <a:custClr name="OST Dunkelblau">
      <a:srgbClr val="0073B0"/>
    </a:custClr>
    <a:custClr name="OST Dunkelorange">
      <a:srgbClr val="D18F00"/>
    </a:custClr>
    <a:custClr name="Weiss">
      <a:srgbClr val="FFFFFF"/>
    </a:custClr>
    <a:custClr name="Weiss">
      <a:srgbClr val="FFFFFF"/>
    </a:custClr>
    <a:custClr name="Weiss">
      <a:srgbClr val="FFFFFF"/>
    </a:custClr>
    <a:custClr name="Weiss">
      <a:srgbClr val="FFFFFF"/>
    </a:custClr>
    <a:custClr name="Weiss">
      <a:srgbClr val="FFFFFF"/>
    </a:custClr>
    <a:custClr name="OST Hellviolett">
      <a:srgbClr val="D0A9D0"/>
    </a:custClr>
    <a:custClr name="OST Hellgrün">
      <a:srgbClr val="A7D5C2"/>
    </a:custClr>
    <a:custClr name="OST Hellrot">
      <a:srgbClr val="F39A8B"/>
    </a:custClr>
    <a:custClr name="OST Hellblau">
      <a:srgbClr val="5FBFED"/>
    </a:custClr>
    <a:custClr name="OST Hellorange">
      <a:srgbClr val="FDD6AF"/>
    </a:custClr>
    <a:custClr name="Weiss">
      <a:srgbClr val="FFFFFF"/>
    </a:custClr>
    <a:custClr name="Weiss">
      <a:srgbClr val="FFFFFF"/>
    </a:custClr>
    <a:custClr name="Weiss">
      <a:srgbClr val="FFFFFF"/>
    </a:custClr>
    <a:custClr name="Weiss">
      <a:srgbClr val="FFFFFF"/>
    </a:custClr>
    <a:custClr name="Weiss">
      <a:srgbClr val="FFFFFF"/>
    </a:custClr>
  </a:custClrLst>
  <a:extLst>
    <a:ext uri="{05A4C25C-085E-4340-85A3-A5531E510DB2}">
      <thm15:themeFamily xmlns:thm15="http://schemas.microsoft.com/office/thememl/2012/main" name="OST_Vorlage_DE_16zu9.potx" id="{03CAA6A4-4F7C-4B54-A13E-70427D41AC30}" vid="{42E3ECE4-3C4E-4AA3-9DC7-6E4A52FA72C2}"/>
    </a:ext>
  </a:ext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ST - Fonts">
      <a:majorFont>
        <a:latin typeface="Zilla Slab Light"/>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ST - Fonts">
      <a:majorFont>
        <a:latin typeface="Zilla Slab Light"/>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6F5640C3DC87A245A1B88F6A5CFD48AF" ma:contentTypeVersion="14" ma:contentTypeDescription="Ein neues Dokument erstellen." ma:contentTypeScope="" ma:versionID="0adced0dca065107c81be95ea5e25457">
  <xsd:schema xmlns:xsd="http://www.w3.org/2001/XMLSchema" xmlns:xs="http://www.w3.org/2001/XMLSchema" xmlns:p="http://schemas.microsoft.com/office/2006/metadata/properties" xmlns:ns2="afe1f2e8-7b69-42bb-93e5-435d7f624a4e" xmlns:ns3="b8f4c0fe-edc9-450e-8777-1e2271ba16b9" targetNamespace="http://schemas.microsoft.com/office/2006/metadata/properties" ma:root="true" ma:fieldsID="bc74c2be1eb78b1ecc47d778c3c32714" ns2:_="" ns3:_="">
    <xsd:import namespace="afe1f2e8-7b69-42bb-93e5-435d7f624a4e"/>
    <xsd:import namespace="b8f4c0fe-edc9-450e-8777-1e2271ba16b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fe1f2e8-7b69-42bb-93e5-435d7f624a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Bildmarkierungen" ma:readOnly="false" ma:fieldId="{5cf76f15-5ced-4ddc-b409-7134ff3c332f}" ma:taxonomyMulti="true" ma:sspId="f212c26d-ba8a-401b-a725-3045b2045bc4"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8f4c0fe-edc9-450e-8777-1e2271ba16b9" elementFormDefault="qualified">
    <xsd:import namespace="http://schemas.microsoft.com/office/2006/documentManagement/types"/>
    <xsd:import namespace="http://schemas.microsoft.com/office/infopath/2007/PartnerControls"/>
    <xsd:element name="SharedWithUsers" ma:index="12"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fe1f2e8-7b69-42bb-93e5-435d7f624a4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E9D7BFE-AC5E-4CCE-98AF-EFDF34B012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fe1f2e8-7b69-42bb-93e5-435d7f624a4e"/>
    <ds:schemaRef ds:uri="b8f4c0fe-edc9-450e-8777-1e2271ba16b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307A9E8-CE5C-48FD-9A36-613B4960C6FB}">
  <ds:schemaRefs>
    <ds:schemaRef ds:uri="http://schemas.microsoft.com/sharepoint/v3/contenttype/forms"/>
  </ds:schemaRefs>
</ds:datastoreItem>
</file>

<file path=customXml/itemProps3.xml><?xml version="1.0" encoding="utf-8"?>
<ds:datastoreItem xmlns:ds="http://schemas.openxmlformats.org/officeDocument/2006/customXml" ds:itemID="{0EECC916-23B9-4ABE-A328-DD46A1614685}">
  <ds:schemaRefs>
    <ds:schemaRef ds:uri="http://schemas.microsoft.com/office/2006/metadata/properties"/>
    <ds:schemaRef ds:uri="http://schemas.microsoft.com/office/infopath/2007/PartnerControls"/>
    <ds:schemaRef ds:uri="afe1f2e8-7b69-42bb-93e5-435d7f624a4e"/>
  </ds:schemaRefs>
</ds:datastoreItem>
</file>

<file path=docProps/app.xml><?xml version="1.0" encoding="utf-8"?>
<Properties xmlns="http://schemas.openxmlformats.org/officeDocument/2006/extended-properties" xmlns:vt="http://schemas.openxmlformats.org/officeDocument/2006/docPropsVTypes">
  <Template>OST_Vorlage_DE_16zu9</Template>
  <TotalTime>0</TotalTime>
  <Words>2320</Words>
  <Application>Microsoft Office PowerPoint</Application>
  <PresentationFormat>Benutzerdefiniert</PresentationFormat>
  <Paragraphs>432</Paragraphs>
  <Slides>41</Slides>
  <Notes>9</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2</vt:i4>
      </vt:variant>
      <vt:variant>
        <vt:lpstr>Folientitel</vt:lpstr>
      </vt:variant>
      <vt:variant>
        <vt:i4>41</vt:i4>
      </vt:variant>
    </vt:vector>
  </HeadingPairs>
  <TitlesOfParts>
    <vt:vector size="49" baseType="lpstr">
      <vt:lpstr>Arial</vt:lpstr>
      <vt:lpstr>Calibri</vt:lpstr>
      <vt:lpstr>Roboto</vt:lpstr>
      <vt:lpstr>Symbol</vt:lpstr>
      <vt:lpstr>Wingdings</vt:lpstr>
      <vt:lpstr>OST-Vorlage</vt:lpstr>
      <vt:lpstr>think-cell Folie</vt:lpstr>
      <vt:lpstr>Visio</vt:lpstr>
      <vt:lpstr>Wissensnugget</vt:lpstr>
      <vt:lpstr>Warum Qualitätssicherung</vt:lpstr>
      <vt:lpstr>User-Centered Designzyklus</vt:lpstr>
      <vt:lpstr>User-Centered Design</vt:lpstr>
      <vt:lpstr>User-Bedürfnisse verstehen</vt:lpstr>
      <vt:lpstr>Nutzerbedürfnisse verstehen</vt:lpstr>
      <vt:lpstr>Die User-Story</vt:lpstr>
      <vt:lpstr>Früh Feedback einholen</vt:lpstr>
      <vt:lpstr>Anforderungsmanagement</vt:lpstr>
      <vt:lpstr>Warum gehen Projekte schief?</vt:lpstr>
      <vt:lpstr>Regeln für das Anforderungsmanagement</vt:lpstr>
      <vt:lpstr>Systeme können nur im Kontext betrachtet werden</vt:lpstr>
      <vt:lpstr>Beispiel zur Darstellung der Systemarchitektur eines Displays</vt:lpstr>
      <vt:lpstr>Beispiel unklare Anforderung: Gehäuse von Gerät im Bergbau</vt:lpstr>
      <vt:lpstr>Beispiel nicht Berücksichtigung des Kontexts: Rückscheiben Auto</vt:lpstr>
      <vt:lpstr>Arten von Anforderungen / Kriterien</vt:lpstr>
      <vt:lpstr>Kriterien</vt:lpstr>
      <vt:lpstr>Beispiel Anforderungskatalog (I)</vt:lpstr>
      <vt:lpstr>Beispiel Anforderungskatalog (II)</vt:lpstr>
      <vt:lpstr>Design Prototyp</vt:lpstr>
      <vt:lpstr>Warum Prototypen bauen?</vt:lpstr>
      <vt:lpstr>UX Wireframe</vt:lpstr>
      <vt:lpstr>Kartonmodell</vt:lpstr>
      <vt:lpstr>3D-Druck</vt:lpstr>
      <vt:lpstr>Drehen, Fräsen, Lasern &amp; biegen</vt:lpstr>
      <vt:lpstr>Welche Muster werden wann umgesetzt bzw. erwartet?</vt:lpstr>
      <vt:lpstr>Testen &amp; bewerten</vt:lpstr>
      <vt:lpstr>V-Modell VDI 2206</vt:lpstr>
      <vt:lpstr>Aufbau des V-Modells</vt:lpstr>
      <vt:lpstr>Beispiel V-Modell eines Raketenfallschirms</vt:lpstr>
      <vt:lpstr>Arten von Tests</vt:lpstr>
      <vt:lpstr>Beispiel Testprotokoll</vt:lpstr>
      <vt:lpstr>Statistische Versuchsplanung: DOE</vt:lpstr>
      <vt:lpstr>Risikomanagement</vt:lpstr>
      <vt:lpstr>Warum Risikomanagement?</vt:lpstr>
      <vt:lpstr>Überblick Risikomanagement</vt:lpstr>
      <vt:lpstr>Methodik zur Risikominimierung: FMEA</vt:lpstr>
      <vt:lpstr>Anwendungsbeispiel der FMEA</vt:lpstr>
      <vt:lpstr>Ishikawa-Diagramm</vt:lpstr>
      <vt:lpstr>Wichtige Normen</vt:lpstr>
      <vt:lpstr>Viel Erfol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Peter Eichenberger</dc:creator>
  <cp:lastModifiedBy>Sebastian Müller</cp:lastModifiedBy>
  <cp:revision>1</cp:revision>
  <cp:lastPrinted>2019-10-30T10:24:00Z</cp:lastPrinted>
  <dcterms:created xsi:type="dcterms:W3CDTF">2023-08-23T08:33:33Z</dcterms:created>
  <dcterms:modified xsi:type="dcterms:W3CDTF">2023-09-26T06:46: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02C9BA7D31A54D8D49C57462F6F49F</vt:lpwstr>
  </property>
  <property fmtid="{D5CDD505-2E9C-101B-9397-08002B2CF9AE}" pid="3" name="MediaServiceImageTags">
    <vt:lpwstr/>
  </property>
</Properties>
</file>